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2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3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4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40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0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93" r:id="rId9"/>
    <p:sldId id="1945" r:id="rId10"/>
    <p:sldId id="1962" r:id="rId11"/>
    <p:sldId id="1964" r:id="rId12"/>
    <p:sldId id="1965" r:id="rId13"/>
    <p:sldId id="1966" r:id="rId14"/>
    <p:sldId id="1980" r:id="rId15"/>
    <p:sldId id="1981" r:id="rId16"/>
    <p:sldId id="1982" r:id="rId17"/>
    <p:sldId id="1983" r:id="rId18"/>
    <p:sldId id="1984" r:id="rId19"/>
    <p:sldId id="1985" r:id="rId20"/>
    <p:sldId id="1986" r:id="rId21"/>
    <p:sldId id="1987" r:id="rId22"/>
    <p:sldId id="1988" r:id="rId23"/>
    <p:sldId id="1989" r:id="rId24"/>
    <p:sldId id="1990" r:id="rId25"/>
    <p:sldId id="1991" r:id="rId26"/>
    <p:sldId id="1942" r:id="rId27"/>
    <p:sldId id="1474" r:id="rId28"/>
    <p:sldId id="1481" r:id="rId29"/>
    <p:sldId id="1482" r:id="rId30"/>
    <p:sldId id="1475" r:id="rId31"/>
    <p:sldId id="1483" r:id="rId32"/>
    <p:sldId id="1923" r:id="rId33"/>
    <p:sldId id="1476" r:id="rId34"/>
    <p:sldId id="1523" r:id="rId35"/>
    <p:sldId id="1524" r:id="rId36"/>
    <p:sldId id="1595" r:id="rId37"/>
    <p:sldId id="1639" r:id="rId38"/>
    <p:sldId id="1802" r:id="rId39"/>
    <p:sldId id="1829" r:id="rId40"/>
    <p:sldId id="1823" r:id="rId41"/>
    <p:sldId id="1845" r:id="rId42"/>
    <p:sldId id="1864" r:id="rId43"/>
    <p:sldId id="1866" r:id="rId44"/>
    <p:sldId id="1886" r:id="rId45"/>
    <p:sldId id="1528" r:id="rId46"/>
    <p:sldId id="1530" r:id="rId47"/>
    <p:sldId id="1571" r:id="rId48"/>
    <p:sldId id="1572" r:id="rId49"/>
    <p:sldId id="1596" r:id="rId50"/>
    <p:sldId id="1615" r:id="rId51"/>
    <p:sldId id="1617" r:id="rId52"/>
    <p:sldId id="1641" r:id="rId53"/>
    <p:sldId id="1784" r:id="rId54"/>
    <p:sldId id="1804" r:id="rId55"/>
    <p:sldId id="1888" r:id="rId56"/>
    <p:sldId id="1907" r:id="rId57"/>
    <p:sldId id="1592" r:id="rId58"/>
    <p:sldId id="1593" r:id="rId59"/>
  </p:sldIdLst>
  <p:sldSz cx="12192000" cy="6858000"/>
  <p:notesSz cx="6858000" cy="9144000"/>
  <p:custDataLst>
    <p:tags r:id="rId6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CE34E"/>
    <a:srgbClr val="FFFF00"/>
    <a:srgbClr val="E4F828"/>
    <a:srgbClr val="000000"/>
    <a:srgbClr val="00FF00"/>
    <a:srgbClr val="FF9966"/>
    <a:srgbClr val="FF9933"/>
    <a:srgbClr val="00B0F0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6400" autoAdjust="0"/>
  </p:normalViewPr>
  <p:slideViewPr>
    <p:cSldViewPr snapToGrid="0">
      <p:cViewPr varScale="1">
        <p:scale>
          <a:sx n="104" d="100"/>
          <a:sy n="104" d="100"/>
        </p:scale>
        <p:origin x="348" y="10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tags" Target="tags/tag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notesMaster" Target="notesMasters/notesMaster1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L$1</c:f>
              <c:strCache>
                <c:ptCount val="89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  <c:pt idx="85">
                  <c:v>13.12.–19.12.</c:v>
                </c:pt>
                <c:pt idx="86">
                  <c:v>20.12.–26.12.</c:v>
                </c:pt>
                <c:pt idx="87">
                  <c:v>27.12.–2.1.</c:v>
                </c:pt>
                <c:pt idx="88">
                  <c:v>3.1.–9.1.</c:v>
                </c:pt>
              </c:strCache>
            </c:strRef>
          </c:cat>
          <c:val>
            <c:numRef>
              <c:f>List1!$B$2:$CL$2</c:f>
              <c:numCache>
                <c:formatCode>General</c:formatCode>
                <c:ptCount val="89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5</c:v>
                </c:pt>
                <c:pt idx="79">
                  <c:v>313</c:v>
                </c:pt>
                <c:pt idx="80">
                  <c:v>90</c:v>
                </c:pt>
                <c:pt idx="81">
                  <c:v>107</c:v>
                </c:pt>
                <c:pt idx="82">
                  <c:v>119</c:v>
                </c:pt>
                <c:pt idx="83">
                  <c:v>103</c:v>
                </c:pt>
                <c:pt idx="84">
                  <c:v>170</c:v>
                </c:pt>
                <c:pt idx="85">
                  <c:v>106</c:v>
                </c:pt>
                <c:pt idx="86">
                  <c:v>70</c:v>
                </c:pt>
                <c:pt idx="87">
                  <c:v>153</c:v>
                </c:pt>
                <c:pt idx="88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-0.17591183084346251"/>
                  <c:y val="-0.271781731508240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layout>
                <c:manualLayout>
                  <c:x val="2.3175630939048023E-2"/>
                  <c:y val="4.7835648827554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99</c:v>
                </c:pt>
                <c:pt idx="1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</c:v>
                </c:pt>
                <c:pt idx="1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1.7357158033531071E-2"/>
                  <c:y val="4.561912679680030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1800000000000004</c:v>
                </c:pt>
                <c:pt idx="1">
                  <c:v>8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95</c:f>
              <c:numCache>
                <c:formatCode>m/d/yyyy</c:formatCode>
                <c:ptCount val="49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</c:numCache>
            </c:numRef>
          </c:cat>
          <c:val>
            <c:numRef>
              <c:f>List1!$B$2:$B$495</c:f>
              <c:numCache>
                <c:formatCode>General</c:formatCode>
                <c:ptCount val="494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1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4</c:v>
                </c:pt>
                <c:pt idx="18">
                  <c:v>15</c:v>
                </c:pt>
                <c:pt idx="19">
                  <c:v>18</c:v>
                </c:pt>
                <c:pt idx="20">
                  <c:v>19</c:v>
                </c:pt>
                <c:pt idx="21">
                  <c:v>19</c:v>
                </c:pt>
                <c:pt idx="22">
                  <c:v>20</c:v>
                </c:pt>
                <c:pt idx="23">
                  <c:v>23</c:v>
                </c:pt>
                <c:pt idx="24">
                  <c:v>24</c:v>
                </c:pt>
                <c:pt idx="25">
                  <c:v>29</c:v>
                </c:pt>
                <c:pt idx="26">
                  <c:v>34</c:v>
                </c:pt>
                <c:pt idx="27">
                  <c:v>37</c:v>
                </c:pt>
                <c:pt idx="28">
                  <c:v>42</c:v>
                </c:pt>
                <c:pt idx="29">
                  <c:v>70</c:v>
                </c:pt>
                <c:pt idx="30">
                  <c:v>101</c:v>
                </c:pt>
                <c:pt idx="31">
                  <c:v>163</c:v>
                </c:pt>
                <c:pt idx="32">
                  <c:v>199</c:v>
                </c:pt>
                <c:pt idx="33">
                  <c:v>253</c:v>
                </c:pt>
                <c:pt idx="34">
                  <c:v>420</c:v>
                </c:pt>
                <c:pt idx="35">
                  <c:v>502</c:v>
                </c:pt>
                <c:pt idx="36">
                  <c:v>547</c:v>
                </c:pt>
                <c:pt idx="37">
                  <c:v>625</c:v>
                </c:pt>
                <c:pt idx="38">
                  <c:v>764</c:v>
                </c:pt>
                <c:pt idx="39">
                  <c:v>794</c:v>
                </c:pt>
                <c:pt idx="40">
                  <c:v>805</c:v>
                </c:pt>
                <c:pt idx="41">
                  <c:v>943</c:v>
                </c:pt>
                <c:pt idx="42">
                  <c:v>1166</c:v>
                </c:pt>
                <c:pt idx="43">
                  <c:v>1347</c:v>
                </c:pt>
                <c:pt idx="44">
                  <c:v>1542</c:v>
                </c:pt>
                <c:pt idx="45">
                  <c:v>1747</c:v>
                </c:pt>
                <c:pt idx="46">
                  <c:v>1902</c:v>
                </c:pt>
                <c:pt idx="47">
                  <c:v>1943</c:v>
                </c:pt>
                <c:pt idx="48">
                  <c:v>2185</c:v>
                </c:pt>
                <c:pt idx="49">
                  <c:v>2385</c:v>
                </c:pt>
                <c:pt idx="50">
                  <c:v>2711</c:v>
                </c:pt>
                <c:pt idx="51">
                  <c:v>2939</c:v>
                </c:pt>
                <c:pt idx="52">
                  <c:v>3355</c:v>
                </c:pt>
                <c:pt idx="53">
                  <c:v>3582</c:v>
                </c:pt>
                <c:pt idx="54">
                  <c:v>3777</c:v>
                </c:pt>
                <c:pt idx="55">
                  <c:v>4164</c:v>
                </c:pt>
                <c:pt idx="56">
                  <c:v>4687</c:v>
                </c:pt>
                <c:pt idx="57">
                  <c:v>4947</c:v>
                </c:pt>
                <c:pt idx="58">
                  <c:v>5485</c:v>
                </c:pt>
                <c:pt idx="59">
                  <c:v>6072</c:v>
                </c:pt>
                <c:pt idx="60">
                  <c:v>6409</c:v>
                </c:pt>
                <c:pt idx="61">
                  <c:v>6621</c:v>
                </c:pt>
                <c:pt idx="62">
                  <c:v>6953</c:v>
                </c:pt>
                <c:pt idx="63">
                  <c:v>7285</c:v>
                </c:pt>
                <c:pt idx="64">
                  <c:v>7709</c:v>
                </c:pt>
                <c:pt idx="65">
                  <c:v>8243</c:v>
                </c:pt>
                <c:pt idx="66">
                  <c:v>8731</c:v>
                </c:pt>
                <c:pt idx="67">
                  <c:v>8945</c:v>
                </c:pt>
                <c:pt idx="68">
                  <c:v>9023</c:v>
                </c:pt>
                <c:pt idx="69">
                  <c:v>9227</c:v>
                </c:pt>
                <c:pt idx="70">
                  <c:v>9612</c:v>
                </c:pt>
                <c:pt idx="71">
                  <c:v>10289</c:v>
                </c:pt>
                <c:pt idx="72">
                  <c:v>10787</c:v>
                </c:pt>
                <c:pt idx="73">
                  <c:v>11268</c:v>
                </c:pt>
                <c:pt idx="74">
                  <c:v>11448</c:v>
                </c:pt>
                <c:pt idx="75">
                  <c:v>11613</c:v>
                </c:pt>
                <c:pt idx="76">
                  <c:v>11995</c:v>
                </c:pt>
                <c:pt idx="77">
                  <c:v>12133</c:v>
                </c:pt>
                <c:pt idx="78">
                  <c:v>12399</c:v>
                </c:pt>
                <c:pt idx="79">
                  <c:v>12668</c:v>
                </c:pt>
                <c:pt idx="80">
                  <c:v>12908</c:v>
                </c:pt>
                <c:pt idx="81">
                  <c:v>13002</c:v>
                </c:pt>
                <c:pt idx="82">
                  <c:v>13093</c:v>
                </c:pt>
                <c:pt idx="83">
                  <c:v>13471</c:v>
                </c:pt>
                <c:pt idx="84">
                  <c:v>13669</c:v>
                </c:pt>
                <c:pt idx="85">
                  <c:v>13793</c:v>
                </c:pt>
                <c:pt idx="86">
                  <c:v>13987</c:v>
                </c:pt>
                <c:pt idx="87">
                  <c:v>14126</c:v>
                </c:pt>
                <c:pt idx="88">
                  <c:v>14204</c:v>
                </c:pt>
                <c:pt idx="89">
                  <c:v>14232</c:v>
                </c:pt>
                <c:pt idx="90">
                  <c:v>14445</c:v>
                </c:pt>
                <c:pt idx="91">
                  <c:v>14569</c:v>
                </c:pt>
                <c:pt idx="92">
                  <c:v>14701</c:v>
                </c:pt>
                <c:pt idx="93">
                  <c:v>14829</c:v>
                </c:pt>
                <c:pt idx="94">
                  <c:v>14971</c:v>
                </c:pt>
                <c:pt idx="95">
                  <c:v>15060</c:v>
                </c:pt>
                <c:pt idx="96">
                  <c:v>15080</c:v>
                </c:pt>
                <c:pt idx="97">
                  <c:v>15222</c:v>
                </c:pt>
                <c:pt idx="98">
                  <c:v>15311</c:v>
                </c:pt>
                <c:pt idx="99">
                  <c:v>15452</c:v>
                </c:pt>
                <c:pt idx="100">
                  <c:v>15535</c:v>
                </c:pt>
                <c:pt idx="101">
                  <c:v>15765</c:v>
                </c:pt>
                <c:pt idx="102">
                  <c:v>15832</c:v>
                </c:pt>
                <c:pt idx="103">
                  <c:v>15881</c:v>
                </c:pt>
                <c:pt idx="104">
                  <c:v>16029</c:v>
                </c:pt>
                <c:pt idx="105">
                  <c:v>16162</c:v>
                </c:pt>
                <c:pt idx="106">
                  <c:v>16262</c:v>
                </c:pt>
                <c:pt idx="107">
                  <c:v>16330</c:v>
                </c:pt>
                <c:pt idx="108">
                  <c:v>16552</c:v>
                </c:pt>
                <c:pt idx="109">
                  <c:v>16613</c:v>
                </c:pt>
                <c:pt idx="110">
                  <c:v>16634</c:v>
                </c:pt>
                <c:pt idx="111">
                  <c:v>16812</c:v>
                </c:pt>
                <c:pt idx="112">
                  <c:v>16988</c:v>
                </c:pt>
                <c:pt idx="113">
                  <c:v>17110</c:v>
                </c:pt>
                <c:pt idx="114">
                  <c:v>17128</c:v>
                </c:pt>
                <c:pt idx="115">
                  <c:v>17199</c:v>
                </c:pt>
                <c:pt idx="116">
                  <c:v>17277</c:v>
                </c:pt>
                <c:pt idx="117">
                  <c:v>17375</c:v>
                </c:pt>
                <c:pt idx="118">
                  <c:v>17540</c:v>
                </c:pt>
                <c:pt idx="119">
                  <c:v>17725</c:v>
                </c:pt>
                <c:pt idx="120">
                  <c:v>17869</c:v>
                </c:pt>
                <c:pt idx="121">
                  <c:v>18002</c:v>
                </c:pt>
                <c:pt idx="122">
                  <c:v>18067</c:v>
                </c:pt>
                <c:pt idx="123">
                  <c:v>18126</c:v>
                </c:pt>
                <c:pt idx="124">
                  <c:v>18168</c:v>
                </c:pt>
                <c:pt idx="125">
                  <c:v>18437</c:v>
                </c:pt>
                <c:pt idx="126">
                  <c:v>18589</c:v>
                </c:pt>
                <c:pt idx="127">
                  <c:v>18749</c:v>
                </c:pt>
                <c:pt idx="128">
                  <c:v>18981</c:v>
                </c:pt>
                <c:pt idx="129">
                  <c:v>19166</c:v>
                </c:pt>
                <c:pt idx="130">
                  <c:v>19227</c:v>
                </c:pt>
                <c:pt idx="131">
                  <c:v>19258</c:v>
                </c:pt>
                <c:pt idx="132">
                  <c:v>19496</c:v>
                </c:pt>
                <c:pt idx="133">
                  <c:v>19622</c:v>
                </c:pt>
                <c:pt idx="134">
                  <c:v>19797</c:v>
                </c:pt>
                <c:pt idx="135">
                  <c:v>19894</c:v>
                </c:pt>
                <c:pt idx="136">
                  <c:v>19980</c:v>
                </c:pt>
                <c:pt idx="137">
                  <c:v>20015</c:v>
                </c:pt>
                <c:pt idx="138">
                  <c:v>20060</c:v>
                </c:pt>
                <c:pt idx="139">
                  <c:v>20221</c:v>
                </c:pt>
                <c:pt idx="140">
                  <c:v>20300</c:v>
                </c:pt>
                <c:pt idx="141">
                  <c:v>20446</c:v>
                </c:pt>
                <c:pt idx="142">
                  <c:v>20552</c:v>
                </c:pt>
                <c:pt idx="143">
                  <c:v>20666</c:v>
                </c:pt>
                <c:pt idx="144">
                  <c:v>20719</c:v>
                </c:pt>
                <c:pt idx="145">
                  <c:v>20744</c:v>
                </c:pt>
                <c:pt idx="146">
                  <c:v>20828</c:v>
                </c:pt>
                <c:pt idx="147">
                  <c:v>20869</c:v>
                </c:pt>
                <c:pt idx="148">
                  <c:v>20964</c:v>
                </c:pt>
                <c:pt idx="149">
                  <c:v>21031</c:v>
                </c:pt>
                <c:pt idx="150">
                  <c:v>21068</c:v>
                </c:pt>
                <c:pt idx="151">
                  <c:v>21117</c:v>
                </c:pt>
                <c:pt idx="152">
                  <c:v>21126</c:v>
                </c:pt>
                <c:pt idx="153">
                  <c:v>21232</c:v>
                </c:pt>
                <c:pt idx="154">
                  <c:v>21326</c:v>
                </c:pt>
                <c:pt idx="155">
                  <c:v>21428</c:v>
                </c:pt>
                <c:pt idx="156">
                  <c:v>21510</c:v>
                </c:pt>
                <c:pt idx="157">
                  <c:v>21594</c:v>
                </c:pt>
                <c:pt idx="158">
                  <c:v>21636</c:v>
                </c:pt>
                <c:pt idx="159">
                  <c:v>21652</c:v>
                </c:pt>
                <c:pt idx="160">
                  <c:v>21717</c:v>
                </c:pt>
                <c:pt idx="161">
                  <c:v>21783</c:v>
                </c:pt>
                <c:pt idx="162">
                  <c:v>21850</c:v>
                </c:pt>
                <c:pt idx="163">
                  <c:v>21915</c:v>
                </c:pt>
                <c:pt idx="164">
                  <c:v>21967</c:v>
                </c:pt>
                <c:pt idx="165">
                  <c:v>21975</c:v>
                </c:pt>
                <c:pt idx="166">
                  <c:v>21988</c:v>
                </c:pt>
                <c:pt idx="167">
                  <c:v>22025</c:v>
                </c:pt>
                <c:pt idx="168">
                  <c:v>22042</c:v>
                </c:pt>
                <c:pt idx="169">
                  <c:v>22072</c:v>
                </c:pt>
                <c:pt idx="170">
                  <c:v>22099</c:v>
                </c:pt>
                <c:pt idx="171">
                  <c:v>22126</c:v>
                </c:pt>
                <c:pt idx="172">
                  <c:v>22144</c:v>
                </c:pt>
                <c:pt idx="173">
                  <c:v>22149</c:v>
                </c:pt>
                <c:pt idx="174">
                  <c:v>22238</c:v>
                </c:pt>
                <c:pt idx="175">
                  <c:v>22274</c:v>
                </c:pt>
                <c:pt idx="176">
                  <c:v>22308</c:v>
                </c:pt>
                <c:pt idx="177">
                  <c:v>22354</c:v>
                </c:pt>
                <c:pt idx="178">
                  <c:v>22400</c:v>
                </c:pt>
                <c:pt idx="179">
                  <c:v>22409</c:v>
                </c:pt>
                <c:pt idx="180">
                  <c:v>22412</c:v>
                </c:pt>
                <c:pt idx="181">
                  <c:v>22490</c:v>
                </c:pt>
                <c:pt idx="182">
                  <c:v>22518</c:v>
                </c:pt>
                <c:pt idx="183">
                  <c:v>22564</c:v>
                </c:pt>
                <c:pt idx="184">
                  <c:v>22573</c:v>
                </c:pt>
                <c:pt idx="185">
                  <c:v>22596</c:v>
                </c:pt>
                <c:pt idx="186">
                  <c:v>22601</c:v>
                </c:pt>
                <c:pt idx="187">
                  <c:v>22606</c:v>
                </c:pt>
                <c:pt idx="188">
                  <c:v>22633</c:v>
                </c:pt>
                <c:pt idx="189">
                  <c:v>22712</c:v>
                </c:pt>
                <c:pt idx="190">
                  <c:v>22767</c:v>
                </c:pt>
                <c:pt idx="191">
                  <c:v>22779</c:v>
                </c:pt>
                <c:pt idx="192">
                  <c:v>22804</c:v>
                </c:pt>
                <c:pt idx="193">
                  <c:v>22813</c:v>
                </c:pt>
                <c:pt idx="194">
                  <c:v>22819</c:v>
                </c:pt>
                <c:pt idx="195">
                  <c:v>22848</c:v>
                </c:pt>
                <c:pt idx="196">
                  <c:v>22868</c:v>
                </c:pt>
                <c:pt idx="197">
                  <c:v>22875</c:v>
                </c:pt>
                <c:pt idx="198">
                  <c:v>22912</c:v>
                </c:pt>
                <c:pt idx="199">
                  <c:v>22930</c:v>
                </c:pt>
                <c:pt idx="200">
                  <c:v>22939</c:v>
                </c:pt>
                <c:pt idx="201">
                  <c:v>22943</c:v>
                </c:pt>
                <c:pt idx="202">
                  <c:v>22956</c:v>
                </c:pt>
                <c:pt idx="203">
                  <c:v>22985</c:v>
                </c:pt>
                <c:pt idx="204">
                  <c:v>23005</c:v>
                </c:pt>
                <c:pt idx="205">
                  <c:v>23036</c:v>
                </c:pt>
                <c:pt idx="206">
                  <c:v>23042</c:v>
                </c:pt>
                <c:pt idx="207">
                  <c:v>23045</c:v>
                </c:pt>
                <c:pt idx="208">
                  <c:v>23049</c:v>
                </c:pt>
                <c:pt idx="209">
                  <c:v>23070</c:v>
                </c:pt>
                <c:pt idx="210">
                  <c:v>23080</c:v>
                </c:pt>
                <c:pt idx="211">
                  <c:v>23089</c:v>
                </c:pt>
                <c:pt idx="212">
                  <c:v>23098</c:v>
                </c:pt>
                <c:pt idx="213">
                  <c:v>23101</c:v>
                </c:pt>
                <c:pt idx="214">
                  <c:v>23104</c:v>
                </c:pt>
                <c:pt idx="215">
                  <c:v>23106</c:v>
                </c:pt>
                <c:pt idx="216">
                  <c:v>23107</c:v>
                </c:pt>
                <c:pt idx="217">
                  <c:v>23112</c:v>
                </c:pt>
                <c:pt idx="218">
                  <c:v>23130</c:v>
                </c:pt>
                <c:pt idx="219">
                  <c:v>23131</c:v>
                </c:pt>
                <c:pt idx="220">
                  <c:v>23134</c:v>
                </c:pt>
                <c:pt idx="221">
                  <c:v>23135</c:v>
                </c:pt>
                <c:pt idx="222">
                  <c:v>23135</c:v>
                </c:pt>
                <c:pt idx="223">
                  <c:v>23136</c:v>
                </c:pt>
                <c:pt idx="224">
                  <c:v>23138</c:v>
                </c:pt>
                <c:pt idx="225">
                  <c:v>23139</c:v>
                </c:pt>
                <c:pt idx="226">
                  <c:v>23142</c:v>
                </c:pt>
                <c:pt idx="227">
                  <c:v>23143</c:v>
                </c:pt>
                <c:pt idx="228">
                  <c:v>23144</c:v>
                </c:pt>
                <c:pt idx="229">
                  <c:v>23145</c:v>
                </c:pt>
                <c:pt idx="230">
                  <c:v>23150</c:v>
                </c:pt>
                <c:pt idx="231">
                  <c:v>23154</c:v>
                </c:pt>
                <c:pt idx="232">
                  <c:v>23157</c:v>
                </c:pt>
                <c:pt idx="233">
                  <c:v>23166</c:v>
                </c:pt>
                <c:pt idx="234">
                  <c:v>23170</c:v>
                </c:pt>
                <c:pt idx="235">
                  <c:v>23171</c:v>
                </c:pt>
                <c:pt idx="236">
                  <c:v>23171</c:v>
                </c:pt>
                <c:pt idx="237">
                  <c:v>23172</c:v>
                </c:pt>
                <c:pt idx="238">
                  <c:v>23175</c:v>
                </c:pt>
                <c:pt idx="239">
                  <c:v>23176</c:v>
                </c:pt>
                <c:pt idx="240">
                  <c:v>23178</c:v>
                </c:pt>
                <c:pt idx="241">
                  <c:v>23179</c:v>
                </c:pt>
                <c:pt idx="242">
                  <c:v>23179</c:v>
                </c:pt>
                <c:pt idx="243">
                  <c:v>23179</c:v>
                </c:pt>
                <c:pt idx="244">
                  <c:v>23179</c:v>
                </c:pt>
                <c:pt idx="245">
                  <c:v>23179</c:v>
                </c:pt>
                <c:pt idx="246">
                  <c:v>23181</c:v>
                </c:pt>
                <c:pt idx="247">
                  <c:v>23181</c:v>
                </c:pt>
                <c:pt idx="248">
                  <c:v>23182</c:v>
                </c:pt>
                <c:pt idx="249">
                  <c:v>23182</c:v>
                </c:pt>
                <c:pt idx="250">
                  <c:v>23185</c:v>
                </c:pt>
                <c:pt idx="251">
                  <c:v>23190</c:v>
                </c:pt>
                <c:pt idx="252">
                  <c:v>23192</c:v>
                </c:pt>
                <c:pt idx="253">
                  <c:v>23192</c:v>
                </c:pt>
                <c:pt idx="254">
                  <c:v>23194</c:v>
                </c:pt>
                <c:pt idx="255">
                  <c:v>23197</c:v>
                </c:pt>
                <c:pt idx="256">
                  <c:v>23198</c:v>
                </c:pt>
                <c:pt idx="257">
                  <c:v>23198</c:v>
                </c:pt>
                <c:pt idx="258">
                  <c:v>23201</c:v>
                </c:pt>
                <c:pt idx="259">
                  <c:v>23201</c:v>
                </c:pt>
                <c:pt idx="260">
                  <c:v>23203</c:v>
                </c:pt>
                <c:pt idx="261">
                  <c:v>23203</c:v>
                </c:pt>
                <c:pt idx="262">
                  <c:v>23203</c:v>
                </c:pt>
                <c:pt idx="263">
                  <c:v>23203</c:v>
                </c:pt>
                <c:pt idx="264">
                  <c:v>23203</c:v>
                </c:pt>
                <c:pt idx="265">
                  <c:v>23205</c:v>
                </c:pt>
                <c:pt idx="266">
                  <c:v>23205</c:v>
                </c:pt>
                <c:pt idx="267">
                  <c:v>23205</c:v>
                </c:pt>
                <c:pt idx="268">
                  <c:v>23205</c:v>
                </c:pt>
                <c:pt idx="269">
                  <c:v>23205</c:v>
                </c:pt>
                <c:pt idx="270">
                  <c:v>23205</c:v>
                </c:pt>
                <c:pt idx="271">
                  <c:v>23205</c:v>
                </c:pt>
                <c:pt idx="272">
                  <c:v>23205</c:v>
                </c:pt>
                <c:pt idx="273">
                  <c:v>23205</c:v>
                </c:pt>
                <c:pt idx="274">
                  <c:v>23208</c:v>
                </c:pt>
                <c:pt idx="275">
                  <c:v>23209</c:v>
                </c:pt>
                <c:pt idx="276">
                  <c:v>23209</c:v>
                </c:pt>
                <c:pt idx="277">
                  <c:v>23209</c:v>
                </c:pt>
                <c:pt idx="278">
                  <c:v>23209</c:v>
                </c:pt>
                <c:pt idx="279">
                  <c:v>23209</c:v>
                </c:pt>
                <c:pt idx="280">
                  <c:v>23209</c:v>
                </c:pt>
                <c:pt idx="281">
                  <c:v>23209</c:v>
                </c:pt>
                <c:pt idx="282">
                  <c:v>23209</c:v>
                </c:pt>
                <c:pt idx="283">
                  <c:v>23210</c:v>
                </c:pt>
                <c:pt idx="284">
                  <c:v>23210</c:v>
                </c:pt>
                <c:pt idx="285">
                  <c:v>23210</c:v>
                </c:pt>
                <c:pt idx="286">
                  <c:v>23210</c:v>
                </c:pt>
                <c:pt idx="287">
                  <c:v>23210</c:v>
                </c:pt>
                <c:pt idx="288">
                  <c:v>23210</c:v>
                </c:pt>
                <c:pt idx="289">
                  <c:v>23211</c:v>
                </c:pt>
                <c:pt idx="290">
                  <c:v>23211</c:v>
                </c:pt>
                <c:pt idx="291">
                  <c:v>23211</c:v>
                </c:pt>
                <c:pt idx="292">
                  <c:v>23211</c:v>
                </c:pt>
                <c:pt idx="293">
                  <c:v>23211</c:v>
                </c:pt>
                <c:pt idx="294">
                  <c:v>23211</c:v>
                </c:pt>
                <c:pt idx="295">
                  <c:v>23212</c:v>
                </c:pt>
                <c:pt idx="296">
                  <c:v>23213</c:v>
                </c:pt>
                <c:pt idx="297">
                  <c:v>23213</c:v>
                </c:pt>
                <c:pt idx="298">
                  <c:v>23213</c:v>
                </c:pt>
                <c:pt idx="299">
                  <c:v>23213</c:v>
                </c:pt>
                <c:pt idx="300">
                  <c:v>23213</c:v>
                </c:pt>
                <c:pt idx="301">
                  <c:v>23213</c:v>
                </c:pt>
                <c:pt idx="302">
                  <c:v>23213</c:v>
                </c:pt>
                <c:pt idx="303">
                  <c:v>23214</c:v>
                </c:pt>
                <c:pt idx="304">
                  <c:v>23214</c:v>
                </c:pt>
                <c:pt idx="305">
                  <c:v>23214</c:v>
                </c:pt>
                <c:pt idx="306">
                  <c:v>23215</c:v>
                </c:pt>
                <c:pt idx="307">
                  <c:v>23215</c:v>
                </c:pt>
                <c:pt idx="308">
                  <c:v>23215</c:v>
                </c:pt>
                <c:pt idx="309">
                  <c:v>23215</c:v>
                </c:pt>
                <c:pt idx="310">
                  <c:v>23216</c:v>
                </c:pt>
                <c:pt idx="311">
                  <c:v>23216</c:v>
                </c:pt>
                <c:pt idx="312">
                  <c:v>23216</c:v>
                </c:pt>
                <c:pt idx="313">
                  <c:v>23216</c:v>
                </c:pt>
                <c:pt idx="314">
                  <c:v>23216</c:v>
                </c:pt>
                <c:pt idx="315">
                  <c:v>23216</c:v>
                </c:pt>
                <c:pt idx="316">
                  <c:v>23216</c:v>
                </c:pt>
                <c:pt idx="317">
                  <c:v>23216</c:v>
                </c:pt>
                <c:pt idx="318">
                  <c:v>23216</c:v>
                </c:pt>
                <c:pt idx="319">
                  <c:v>23216</c:v>
                </c:pt>
                <c:pt idx="320">
                  <c:v>23216</c:v>
                </c:pt>
                <c:pt idx="321">
                  <c:v>23216</c:v>
                </c:pt>
                <c:pt idx="322">
                  <c:v>23216</c:v>
                </c:pt>
                <c:pt idx="323">
                  <c:v>23216</c:v>
                </c:pt>
                <c:pt idx="324">
                  <c:v>23216</c:v>
                </c:pt>
                <c:pt idx="325">
                  <c:v>23216</c:v>
                </c:pt>
                <c:pt idx="326">
                  <c:v>23217</c:v>
                </c:pt>
                <c:pt idx="327">
                  <c:v>23217</c:v>
                </c:pt>
                <c:pt idx="328">
                  <c:v>23217</c:v>
                </c:pt>
                <c:pt idx="329">
                  <c:v>23217</c:v>
                </c:pt>
                <c:pt idx="330">
                  <c:v>23217</c:v>
                </c:pt>
                <c:pt idx="331">
                  <c:v>23217</c:v>
                </c:pt>
                <c:pt idx="332">
                  <c:v>23217</c:v>
                </c:pt>
                <c:pt idx="333">
                  <c:v>23217</c:v>
                </c:pt>
                <c:pt idx="334">
                  <c:v>23217</c:v>
                </c:pt>
                <c:pt idx="335">
                  <c:v>23217</c:v>
                </c:pt>
                <c:pt idx="336">
                  <c:v>23217</c:v>
                </c:pt>
                <c:pt idx="337">
                  <c:v>23217</c:v>
                </c:pt>
                <c:pt idx="338">
                  <c:v>23217</c:v>
                </c:pt>
                <c:pt idx="339">
                  <c:v>23217</c:v>
                </c:pt>
                <c:pt idx="340">
                  <c:v>23217</c:v>
                </c:pt>
                <c:pt idx="341">
                  <c:v>23217</c:v>
                </c:pt>
                <c:pt idx="342">
                  <c:v>23217</c:v>
                </c:pt>
                <c:pt idx="343">
                  <c:v>23217</c:v>
                </c:pt>
                <c:pt idx="344">
                  <c:v>23217</c:v>
                </c:pt>
                <c:pt idx="345">
                  <c:v>23217</c:v>
                </c:pt>
                <c:pt idx="346">
                  <c:v>23217</c:v>
                </c:pt>
                <c:pt idx="347">
                  <c:v>23217</c:v>
                </c:pt>
                <c:pt idx="348">
                  <c:v>23217</c:v>
                </c:pt>
                <c:pt idx="349">
                  <c:v>23218</c:v>
                </c:pt>
                <c:pt idx="350">
                  <c:v>23219</c:v>
                </c:pt>
                <c:pt idx="351">
                  <c:v>23219</c:v>
                </c:pt>
                <c:pt idx="352">
                  <c:v>23220</c:v>
                </c:pt>
                <c:pt idx="353">
                  <c:v>23220</c:v>
                </c:pt>
                <c:pt idx="354">
                  <c:v>23220</c:v>
                </c:pt>
                <c:pt idx="355">
                  <c:v>23220</c:v>
                </c:pt>
                <c:pt idx="356">
                  <c:v>23222</c:v>
                </c:pt>
                <c:pt idx="357">
                  <c:v>23222</c:v>
                </c:pt>
                <c:pt idx="358">
                  <c:v>23222</c:v>
                </c:pt>
                <c:pt idx="359">
                  <c:v>23222</c:v>
                </c:pt>
                <c:pt idx="360">
                  <c:v>23222</c:v>
                </c:pt>
                <c:pt idx="361">
                  <c:v>23222</c:v>
                </c:pt>
                <c:pt idx="362">
                  <c:v>23222</c:v>
                </c:pt>
                <c:pt idx="363">
                  <c:v>23222</c:v>
                </c:pt>
                <c:pt idx="364">
                  <c:v>23222</c:v>
                </c:pt>
                <c:pt idx="365">
                  <c:v>23223</c:v>
                </c:pt>
                <c:pt idx="366">
                  <c:v>23227</c:v>
                </c:pt>
                <c:pt idx="367">
                  <c:v>23229</c:v>
                </c:pt>
                <c:pt idx="368">
                  <c:v>23230</c:v>
                </c:pt>
                <c:pt idx="369">
                  <c:v>23230</c:v>
                </c:pt>
                <c:pt idx="370">
                  <c:v>23234</c:v>
                </c:pt>
                <c:pt idx="371">
                  <c:v>23234</c:v>
                </c:pt>
                <c:pt idx="372">
                  <c:v>23234</c:v>
                </c:pt>
                <c:pt idx="373">
                  <c:v>23235</c:v>
                </c:pt>
                <c:pt idx="374">
                  <c:v>23235</c:v>
                </c:pt>
                <c:pt idx="375">
                  <c:v>23235</c:v>
                </c:pt>
                <c:pt idx="376">
                  <c:v>23235</c:v>
                </c:pt>
                <c:pt idx="377">
                  <c:v>23236</c:v>
                </c:pt>
                <c:pt idx="378">
                  <c:v>23236</c:v>
                </c:pt>
                <c:pt idx="379">
                  <c:v>23236</c:v>
                </c:pt>
                <c:pt idx="380">
                  <c:v>23236</c:v>
                </c:pt>
                <c:pt idx="381">
                  <c:v>23236</c:v>
                </c:pt>
                <c:pt idx="382">
                  <c:v>23236</c:v>
                </c:pt>
                <c:pt idx="383">
                  <c:v>23236</c:v>
                </c:pt>
                <c:pt idx="384">
                  <c:v>23237</c:v>
                </c:pt>
                <c:pt idx="385">
                  <c:v>23241</c:v>
                </c:pt>
                <c:pt idx="386">
                  <c:v>23242</c:v>
                </c:pt>
                <c:pt idx="387">
                  <c:v>23242</c:v>
                </c:pt>
                <c:pt idx="388">
                  <c:v>23242</c:v>
                </c:pt>
                <c:pt idx="389">
                  <c:v>23242</c:v>
                </c:pt>
                <c:pt idx="390">
                  <c:v>23242</c:v>
                </c:pt>
                <c:pt idx="391">
                  <c:v>23244</c:v>
                </c:pt>
                <c:pt idx="392">
                  <c:v>23244</c:v>
                </c:pt>
                <c:pt idx="393">
                  <c:v>23245</c:v>
                </c:pt>
                <c:pt idx="394">
                  <c:v>23245</c:v>
                </c:pt>
                <c:pt idx="395">
                  <c:v>23246</c:v>
                </c:pt>
                <c:pt idx="396">
                  <c:v>23247</c:v>
                </c:pt>
                <c:pt idx="397">
                  <c:v>23248</c:v>
                </c:pt>
                <c:pt idx="398">
                  <c:v>23250</c:v>
                </c:pt>
                <c:pt idx="399">
                  <c:v>23252</c:v>
                </c:pt>
                <c:pt idx="400">
                  <c:v>23263</c:v>
                </c:pt>
                <c:pt idx="401">
                  <c:v>23265</c:v>
                </c:pt>
                <c:pt idx="402">
                  <c:v>23290</c:v>
                </c:pt>
                <c:pt idx="403">
                  <c:v>23291</c:v>
                </c:pt>
                <c:pt idx="404">
                  <c:v>23291</c:v>
                </c:pt>
                <c:pt idx="405">
                  <c:v>23292</c:v>
                </c:pt>
                <c:pt idx="406">
                  <c:v>23292</c:v>
                </c:pt>
                <c:pt idx="407">
                  <c:v>23312</c:v>
                </c:pt>
                <c:pt idx="408">
                  <c:v>23315</c:v>
                </c:pt>
                <c:pt idx="409">
                  <c:v>23317</c:v>
                </c:pt>
                <c:pt idx="410">
                  <c:v>23317</c:v>
                </c:pt>
                <c:pt idx="411">
                  <c:v>23317</c:v>
                </c:pt>
                <c:pt idx="412">
                  <c:v>23323</c:v>
                </c:pt>
                <c:pt idx="413">
                  <c:v>23327</c:v>
                </c:pt>
                <c:pt idx="414">
                  <c:v>23331</c:v>
                </c:pt>
                <c:pt idx="415">
                  <c:v>23333</c:v>
                </c:pt>
                <c:pt idx="416">
                  <c:v>23338</c:v>
                </c:pt>
                <c:pt idx="417">
                  <c:v>23339</c:v>
                </c:pt>
                <c:pt idx="418">
                  <c:v>23340</c:v>
                </c:pt>
                <c:pt idx="419">
                  <c:v>23354</c:v>
                </c:pt>
                <c:pt idx="420">
                  <c:v>23363</c:v>
                </c:pt>
                <c:pt idx="421">
                  <c:v>23374</c:v>
                </c:pt>
                <c:pt idx="422">
                  <c:v>23374</c:v>
                </c:pt>
                <c:pt idx="423">
                  <c:v>23392</c:v>
                </c:pt>
                <c:pt idx="424">
                  <c:v>23399</c:v>
                </c:pt>
                <c:pt idx="425">
                  <c:v>23410</c:v>
                </c:pt>
                <c:pt idx="426">
                  <c:v>23445</c:v>
                </c:pt>
                <c:pt idx="427">
                  <c:v>23458</c:v>
                </c:pt>
                <c:pt idx="428">
                  <c:v>23474</c:v>
                </c:pt>
                <c:pt idx="429">
                  <c:v>23526</c:v>
                </c:pt>
                <c:pt idx="430">
                  <c:v>23549</c:v>
                </c:pt>
                <c:pt idx="431">
                  <c:v>23555</c:v>
                </c:pt>
                <c:pt idx="432">
                  <c:v>23560</c:v>
                </c:pt>
                <c:pt idx="433">
                  <c:v>23589</c:v>
                </c:pt>
                <c:pt idx="434">
                  <c:v>23618</c:v>
                </c:pt>
                <c:pt idx="435">
                  <c:v>23633</c:v>
                </c:pt>
                <c:pt idx="436">
                  <c:v>23651</c:v>
                </c:pt>
                <c:pt idx="437">
                  <c:v>23668</c:v>
                </c:pt>
                <c:pt idx="438">
                  <c:v>23681</c:v>
                </c:pt>
                <c:pt idx="439">
                  <c:v>23695</c:v>
                </c:pt>
                <c:pt idx="440">
                  <c:v>23738</c:v>
                </c:pt>
                <c:pt idx="441">
                  <c:v>23770</c:v>
                </c:pt>
                <c:pt idx="442">
                  <c:v>23793</c:v>
                </c:pt>
                <c:pt idx="443">
                  <c:v>23848</c:v>
                </c:pt>
                <c:pt idx="444">
                  <c:v>23932</c:v>
                </c:pt>
                <c:pt idx="445">
                  <c:v>23958</c:v>
                </c:pt>
                <c:pt idx="446">
                  <c:v>23967</c:v>
                </c:pt>
                <c:pt idx="447">
                  <c:v>24015</c:v>
                </c:pt>
                <c:pt idx="448">
                  <c:v>24038</c:v>
                </c:pt>
                <c:pt idx="449">
                  <c:v>24079</c:v>
                </c:pt>
                <c:pt idx="450">
                  <c:v>24108</c:v>
                </c:pt>
                <c:pt idx="451">
                  <c:v>24160</c:v>
                </c:pt>
                <c:pt idx="452">
                  <c:v>24165</c:v>
                </c:pt>
                <c:pt idx="453">
                  <c:v>24172</c:v>
                </c:pt>
                <c:pt idx="454">
                  <c:v>24214</c:v>
                </c:pt>
                <c:pt idx="455">
                  <c:v>24228</c:v>
                </c:pt>
                <c:pt idx="456">
                  <c:v>24258</c:v>
                </c:pt>
                <c:pt idx="457">
                  <c:v>24289</c:v>
                </c:pt>
                <c:pt idx="458">
                  <c:v>24302</c:v>
                </c:pt>
                <c:pt idx="459">
                  <c:v>24340</c:v>
                </c:pt>
                <c:pt idx="460">
                  <c:v>24346</c:v>
                </c:pt>
                <c:pt idx="461">
                  <c:v>24375</c:v>
                </c:pt>
                <c:pt idx="462">
                  <c:v>24398</c:v>
                </c:pt>
                <c:pt idx="463">
                  <c:v>24415</c:v>
                </c:pt>
                <c:pt idx="464">
                  <c:v>24446</c:v>
                </c:pt>
                <c:pt idx="465">
                  <c:v>24474</c:v>
                </c:pt>
                <c:pt idx="466">
                  <c:v>24480</c:v>
                </c:pt>
                <c:pt idx="467">
                  <c:v>24480</c:v>
                </c:pt>
                <c:pt idx="468">
                  <c:v>24496</c:v>
                </c:pt>
                <c:pt idx="469">
                  <c:v>24523</c:v>
                </c:pt>
                <c:pt idx="470">
                  <c:v>24538</c:v>
                </c:pt>
                <c:pt idx="471">
                  <c:v>24545</c:v>
                </c:pt>
                <c:pt idx="472">
                  <c:v>24556</c:v>
                </c:pt>
                <c:pt idx="473">
                  <c:v>24559</c:v>
                </c:pt>
                <c:pt idx="474">
                  <c:v>24562</c:v>
                </c:pt>
                <c:pt idx="475">
                  <c:v>24577</c:v>
                </c:pt>
                <c:pt idx="476">
                  <c:v>24584</c:v>
                </c:pt>
                <c:pt idx="477">
                  <c:v>24586</c:v>
                </c:pt>
                <c:pt idx="478">
                  <c:v>24593</c:v>
                </c:pt>
                <c:pt idx="479">
                  <c:v>24593</c:v>
                </c:pt>
                <c:pt idx="480">
                  <c:v>24595</c:v>
                </c:pt>
                <c:pt idx="481">
                  <c:v>24595</c:v>
                </c:pt>
                <c:pt idx="482">
                  <c:v>24605</c:v>
                </c:pt>
                <c:pt idx="483">
                  <c:v>24615</c:v>
                </c:pt>
                <c:pt idx="484">
                  <c:v>24620</c:v>
                </c:pt>
                <c:pt idx="485">
                  <c:v>24623</c:v>
                </c:pt>
                <c:pt idx="486">
                  <c:v>24632</c:v>
                </c:pt>
                <c:pt idx="487">
                  <c:v>24633</c:v>
                </c:pt>
                <c:pt idx="488">
                  <c:v>24633</c:v>
                </c:pt>
                <c:pt idx="489">
                  <c:v>24636</c:v>
                </c:pt>
                <c:pt idx="490">
                  <c:v>24642</c:v>
                </c:pt>
                <c:pt idx="491">
                  <c:v>24648</c:v>
                </c:pt>
                <c:pt idx="492">
                  <c:v>24653</c:v>
                </c:pt>
                <c:pt idx="493">
                  <c:v>246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95</c:f>
              <c:numCache>
                <c:formatCode>m/d/yyyy</c:formatCode>
                <c:ptCount val="49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</c:numCache>
            </c:numRef>
          </c:cat>
          <c:val>
            <c:numRef>
              <c:f>List1!$C$2:$C$495</c:f>
              <c:numCache>
                <c:formatCode>General</c:formatCode>
                <c:ptCount val="49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9</c:v>
                </c:pt>
                <c:pt idx="13">
                  <c:v>12</c:v>
                </c:pt>
                <c:pt idx="14">
                  <c:v>13</c:v>
                </c:pt>
                <c:pt idx="15">
                  <c:v>15</c:v>
                </c:pt>
                <c:pt idx="16">
                  <c:v>17</c:v>
                </c:pt>
                <c:pt idx="17">
                  <c:v>19</c:v>
                </c:pt>
                <c:pt idx="18">
                  <c:v>20</c:v>
                </c:pt>
                <c:pt idx="19">
                  <c:v>24</c:v>
                </c:pt>
                <c:pt idx="20">
                  <c:v>29</c:v>
                </c:pt>
                <c:pt idx="21">
                  <c:v>33</c:v>
                </c:pt>
                <c:pt idx="22">
                  <c:v>34</c:v>
                </c:pt>
                <c:pt idx="23">
                  <c:v>38</c:v>
                </c:pt>
                <c:pt idx="24">
                  <c:v>50</c:v>
                </c:pt>
                <c:pt idx="25">
                  <c:v>57</c:v>
                </c:pt>
                <c:pt idx="26">
                  <c:v>59</c:v>
                </c:pt>
                <c:pt idx="27">
                  <c:v>63</c:v>
                </c:pt>
                <c:pt idx="28">
                  <c:v>86</c:v>
                </c:pt>
                <c:pt idx="29">
                  <c:v>96</c:v>
                </c:pt>
                <c:pt idx="30">
                  <c:v>126</c:v>
                </c:pt>
                <c:pt idx="31">
                  <c:v>221</c:v>
                </c:pt>
                <c:pt idx="32">
                  <c:v>252</c:v>
                </c:pt>
                <c:pt idx="33">
                  <c:v>282</c:v>
                </c:pt>
                <c:pt idx="34">
                  <c:v>372</c:v>
                </c:pt>
                <c:pt idx="35">
                  <c:v>418</c:v>
                </c:pt>
                <c:pt idx="36">
                  <c:v>460</c:v>
                </c:pt>
                <c:pt idx="37">
                  <c:v>544</c:v>
                </c:pt>
                <c:pt idx="38">
                  <c:v>631</c:v>
                </c:pt>
                <c:pt idx="39">
                  <c:v>682</c:v>
                </c:pt>
                <c:pt idx="40">
                  <c:v>707</c:v>
                </c:pt>
                <c:pt idx="41">
                  <c:v>868</c:v>
                </c:pt>
                <c:pt idx="42">
                  <c:v>1023</c:v>
                </c:pt>
                <c:pt idx="43">
                  <c:v>1214</c:v>
                </c:pt>
                <c:pt idx="44">
                  <c:v>1415</c:v>
                </c:pt>
                <c:pt idx="45">
                  <c:v>1626</c:v>
                </c:pt>
                <c:pt idx="46">
                  <c:v>1732</c:v>
                </c:pt>
                <c:pt idx="47">
                  <c:v>1780</c:v>
                </c:pt>
                <c:pt idx="48">
                  <c:v>1972</c:v>
                </c:pt>
                <c:pt idx="49">
                  <c:v>2165</c:v>
                </c:pt>
                <c:pt idx="50">
                  <c:v>2424</c:v>
                </c:pt>
                <c:pt idx="51">
                  <c:v>2659</c:v>
                </c:pt>
                <c:pt idx="52">
                  <c:v>2994</c:v>
                </c:pt>
                <c:pt idx="53">
                  <c:v>3181</c:v>
                </c:pt>
                <c:pt idx="54">
                  <c:v>3271</c:v>
                </c:pt>
                <c:pt idx="55">
                  <c:v>3648</c:v>
                </c:pt>
                <c:pt idx="56">
                  <c:v>4045</c:v>
                </c:pt>
                <c:pt idx="57">
                  <c:v>4179</c:v>
                </c:pt>
                <c:pt idx="58">
                  <c:v>4650</c:v>
                </c:pt>
                <c:pt idx="59">
                  <c:v>4983</c:v>
                </c:pt>
                <c:pt idx="60">
                  <c:v>5166</c:v>
                </c:pt>
                <c:pt idx="61">
                  <c:v>5282</c:v>
                </c:pt>
                <c:pt idx="62">
                  <c:v>5580</c:v>
                </c:pt>
                <c:pt idx="63">
                  <c:v>5811</c:v>
                </c:pt>
                <c:pt idx="64">
                  <c:v>6142</c:v>
                </c:pt>
                <c:pt idx="65">
                  <c:v>6422</c:v>
                </c:pt>
                <c:pt idx="66">
                  <c:v>6663</c:v>
                </c:pt>
                <c:pt idx="67">
                  <c:v>6780</c:v>
                </c:pt>
                <c:pt idx="68">
                  <c:v>6828</c:v>
                </c:pt>
                <c:pt idx="69">
                  <c:v>7025</c:v>
                </c:pt>
                <c:pt idx="70">
                  <c:v>7230</c:v>
                </c:pt>
                <c:pt idx="71">
                  <c:v>7492</c:v>
                </c:pt>
                <c:pt idx="72">
                  <c:v>7724</c:v>
                </c:pt>
                <c:pt idx="73">
                  <c:v>7928</c:v>
                </c:pt>
                <c:pt idx="74">
                  <c:v>8001</c:v>
                </c:pt>
                <c:pt idx="75">
                  <c:v>8031</c:v>
                </c:pt>
                <c:pt idx="76">
                  <c:v>8211</c:v>
                </c:pt>
                <c:pt idx="77">
                  <c:v>8257</c:v>
                </c:pt>
                <c:pt idx="78">
                  <c:v>8420</c:v>
                </c:pt>
                <c:pt idx="79">
                  <c:v>8549</c:v>
                </c:pt>
                <c:pt idx="80">
                  <c:v>8670</c:v>
                </c:pt>
                <c:pt idx="81">
                  <c:v>8706</c:v>
                </c:pt>
                <c:pt idx="82">
                  <c:v>8723</c:v>
                </c:pt>
                <c:pt idx="83">
                  <c:v>8863</c:v>
                </c:pt>
                <c:pt idx="84">
                  <c:v>8970</c:v>
                </c:pt>
                <c:pt idx="85">
                  <c:v>9064</c:v>
                </c:pt>
                <c:pt idx="86">
                  <c:v>9119</c:v>
                </c:pt>
                <c:pt idx="87">
                  <c:v>9199</c:v>
                </c:pt>
                <c:pt idx="88">
                  <c:v>9222</c:v>
                </c:pt>
                <c:pt idx="89">
                  <c:v>9238</c:v>
                </c:pt>
                <c:pt idx="90">
                  <c:v>9343</c:v>
                </c:pt>
                <c:pt idx="91">
                  <c:v>9428</c:v>
                </c:pt>
                <c:pt idx="92">
                  <c:v>9494</c:v>
                </c:pt>
                <c:pt idx="93">
                  <c:v>9552</c:v>
                </c:pt>
                <c:pt idx="94">
                  <c:v>9641</c:v>
                </c:pt>
                <c:pt idx="95">
                  <c:v>9681</c:v>
                </c:pt>
                <c:pt idx="96">
                  <c:v>9706</c:v>
                </c:pt>
                <c:pt idx="97">
                  <c:v>9826</c:v>
                </c:pt>
                <c:pt idx="98">
                  <c:v>9902</c:v>
                </c:pt>
                <c:pt idx="99">
                  <c:v>9965</c:v>
                </c:pt>
                <c:pt idx="100">
                  <c:v>10024</c:v>
                </c:pt>
                <c:pt idx="101">
                  <c:v>10101</c:v>
                </c:pt>
                <c:pt idx="102">
                  <c:v>10122</c:v>
                </c:pt>
                <c:pt idx="103">
                  <c:v>10139</c:v>
                </c:pt>
                <c:pt idx="104">
                  <c:v>10267</c:v>
                </c:pt>
                <c:pt idx="105">
                  <c:v>10338</c:v>
                </c:pt>
                <c:pt idx="106">
                  <c:v>10434</c:v>
                </c:pt>
                <c:pt idx="107">
                  <c:v>10485</c:v>
                </c:pt>
                <c:pt idx="108">
                  <c:v>10568</c:v>
                </c:pt>
                <c:pt idx="109">
                  <c:v>10595</c:v>
                </c:pt>
                <c:pt idx="110">
                  <c:v>10622</c:v>
                </c:pt>
                <c:pt idx="111">
                  <c:v>10780</c:v>
                </c:pt>
                <c:pt idx="112">
                  <c:v>10891</c:v>
                </c:pt>
                <c:pt idx="113">
                  <c:v>11007</c:v>
                </c:pt>
                <c:pt idx="114">
                  <c:v>11035</c:v>
                </c:pt>
                <c:pt idx="115">
                  <c:v>11080</c:v>
                </c:pt>
                <c:pt idx="116">
                  <c:v>11129</c:v>
                </c:pt>
                <c:pt idx="117">
                  <c:v>11175</c:v>
                </c:pt>
                <c:pt idx="118">
                  <c:v>11367</c:v>
                </c:pt>
                <c:pt idx="119">
                  <c:v>11514</c:v>
                </c:pt>
                <c:pt idx="120">
                  <c:v>11626</c:v>
                </c:pt>
                <c:pt idx="121">
                  <c:v>11711</c:v>
                </c:pt>
                <c:pt idx="122">
                  <c:v>11740</c:v>
                </c:pt>
                <c:pt idx="123">
                  <c:v>11799</c:v>
                </c:pt>
                <c:pt idx="124">
                  <c:v>11834</c:v>
                </c:pt>
                <c:pt idx="125">
                  <c:v>12111</c:v>
                </c:pt>
                <c:pt idx="126">
                  <c:v>12255</c:v>
                </c:pt>
                <c:pt idx="127">
                  <c:v>12367</c:v>
                </c:pt>
                <c:pt idx="128">
                  <c:v>12467</c:v>
                </c:pt>
                <c:pt idx="129">
                  <c:v>12589</c:v>
                </c:pt>
                <c:pt idx="130">
                  <c:v>12637</c:v>
                </c:pt>
                <c:pt idx="131">
                  <c:v>12662</c:v>
                </c:pt>
                <c:pt idx="132">
                  <c:v>12892</c:v>
                </c:pt>
                <c:pt idx="133">
                  <c:v>12989</c:v>
                </c:pt>
                <c:pt idx="134">
                  <c:v>13098</c:v>
                </c:pt>
                <c:pt idx="135">
                  <c:v>13151</c:v>
                </c:pt>
                <c:pt idx="136">
                  <c:v>13216</c:v>
                </c:pt>
                <c:pt idx="137">
                  <c:v>13248</c:v>
                </c:pt>
                <c:pt idx="138">
                  <c:v>13274</c:v>
                </c:pt>
                <c:pt idx="139">
                  <c:v>13400</c:v>
                </c:pt>
                <c:pt idx="140">
                  <c:v>13475</c:v>
                </c:pt>
                <c:pt idx="141">
                  <c:v>13546</c:v>
                </c:pt>
                <c:pt idx="142">
                  <c:v>13606</c:v>
                </c:pt>
                <c:pt idx="143">
                  <c:v>13685</c:v>
                </c:pt>
                <c:pt idx="144">
                  <c:v>13712</c:v>
                </c:pt>
                <c:pt idx="145">
                  <c:v>13723</c:v>
                </c:pt>
                <c:pt idx="146">
                  <c:v>13812</c:v>
                </c:pt>
                <c:pt idx="147">
                  <c:v>13888</c:v>
                </c:pt>
                <c:pt idx="148">
                  <c:v>13948</c:v>
                </c:pt>
                <c:pt idx="149">
                  <c:v>13980</c:v>
                </c:pt>
                <c:pt idx="150">
                  <c:v>14026</c:v>
                </c:pt>
                <c:pt idx="151">
                  <c:v>14056</c:v>
                </c:pt>
                <c:pt idx="152">
                  <c:v>14065</c:v>
                </c:pt>
                <c:pt idx="153">
                  <c:v>14145</c:v>
                </c:pt>
                <c:pt idx="154">
                  <c:v>14214</c:v>
                </c:pt>
                <c:pt idx="155">
                  <c:v>14273</c:v>
                </c:pt>
                <c:pt idx="156">
                  <c:v>14315</c:v>
                </c:pt>
                <c:pt idx="157">
                  <c:v>14363</c:v>
                </c:pt>
                <c:pt idx="158">
                  <c:v>14374</c:v>
                </c:pt>
                <c:pt idx="159">
                  <c:v>14391</c:v>
                </c:pt>
                <c:pt idx="160">
                  <c:v>14462</c:v>
                </c:pt>
                <c:pt idx="161">
                  <c:v>14483</c:v>
                </c:pt>
                <c:pt idx="162">
                  <c:v>14517</c:v>
                </c:pt>
                <c:pt idx="163">
                  <c:v>14556</c:v>
                </c:pt>
                <c:pt idx="164">
                  <c:v>14595</c:v>
                </c:pt>
                <c:pt idx="165">
                  <c:v>14610</c:v>
                </c:pt>
                <c:pt idx="166">
                  <c:v>14620</c:v>
                </c:pt>
                <c:pt idx="167">
                  <c:v>14683</c:v>
                </c:pt>
                <c:pt idx="168">
                  <c:v>14716</c:v>
                </c:pt>
                <c:pt idx="169">
                  <c:v>14752</c:v>
                </c:pt>
                <c:pt idx="170">
                  <c:v>14781</c:v>
                </c:pt>
                <c:pt idx="171">
                  <c:v>14816</c:v>
                </c:pt>
                <c:pt idx="172">
                  <c:v>14822</c:v>
                </c:pt>
                <c:pt idx="173">
                  <c:v>14840</c:v>
                </c:pt>
                <c:pt idx="174">
                  <c:v>14914</c:v>
                </c:pt>
                <c:pt idx="175">
                  <c:v>14959</c:v>
                </c:pt>
                <c:pt idx="176">
                  <c:v>14993</c:v>
                </c:pt>
                <c:pt idx="177">
                  <c:v>15026</c:v>
                </c:pt>
                <c:pt idx="178">
                  <c:v>15065</c:v>
                </c:pt>
                <c:pt idx="179">
                  <c:v>15074</c:v>
                </c:pt>
                <c:pt idx="180">
                  <c:v>15083</c:v>
                </c:pt>
                <c:pt idx="181">
                  <c:v>15140</c:v>
                </c:pt>
                <c:pt idx="182">
                  <c:v>15179</c:v>
                </c:pt>
                <c:pt idx="183">
                  <c:v>15235</c:v>
                </c:pt>
                <c:pt idx="184">
                  <c:v>15275</c:v>
                </c:pt>
                <c:pt idx="185">
                  <c:v>15303</c:v>
                </c:pt>
                <c:pt idx="186">
                  <c:v>15317</c:v>
                </c:pt>
                <c:pt idx="187">
                  <c:v>15327</c:v>
                </c:pt>
                <c:pt idx="188">
                  <c:v>15388</c:v>
                </c:pt>
                <c:pt idx="189">
                  <c:v>15425</c:v>
                </c:pt>
                <c:pt idx="190">
                  <c:v>15454</c:v>
                </c:pt>
                <c:pt idx="191">
                  <c:v>15480</c:v>
                </c:pt>
                <c:pt idx="192">
                  <c:v>15498</c:v>
                </c:pt>
                <c:pt idx="193">
                  <c:v>15509</c:v>
                </c:pt>
                <c:pt idx="194">
                  <c:v>15516</c:v>
                </c:pt>
                <c:pt idx="195">
                  <c:v>15552</c:v>
                </c:pt>
                <c:pt idx="196">
                  <c:v>15575</c:v>
                </c:pt>
                <c:pt idx="197">
                  <c:v>15598</c:v>
                </c:pt>
                <c:pt idx="198">
                  <c:v>15614</c:v>
                </c:pt>
                <c:pt idx="199">
                  <c:v>15634</c:v>
                </c:pt>
                <c:pt idx="200">
                  <c:v>15635</c:v>
                </c:pt>
                <c:pt idx="201">
                  <c:v>15639</c:v>
                </c:pt>
                <c:pt idx="202">
                  <c:v>15671</c:v>
                </c:pt>
                <c:pt idx="203">
                  <c:v>15689</c:v>
                </c:pt>
                <c:pt idx="204">
                  <c:v>15699</c:v>
                </c:pt>
                <c:pt idx="205">
                  <c:v>15707</c:v>
                </c:pt>
                <c:pt idx="206">
                  <c:v>15723</c:v>
                </c:pt>
                <c:pt idx="207">
                  <c:v>15726</c:v>
                </c:pt>
                <c:pt idx="208">
                  <c:v>15727</c:v>
                </c:pt>
                <c:pt idx="209">
                  <c:v>15746</c:v>
                </c:pt>
                <c:pt idx="210">
                  <c:v>15760</c:v>
                </c:pt>
                <c:pt idx="211">
                  <c:v>15773</c:v>
                </c:pt>
                <c:pt idx="212">
                  <c:v>15785</c:v>
                </c:pt>
                <c:pt idx="213">
                  <c:v>15788</c:v>
                </c:pt>
                <c:pt idx="214">
                  <c:v>15791</c:v>
                </c:pt>
                <c:pt idx="215">
                  <c:v>15793</c:v>
                </c:pt>
                <c:pt idx="216">
                  <c:v>15798</c:v>
                </c:pt>
                <c:pt idx="217">
                  <c:v>15820</c:v>
                </c:pt>
                <c:pt idx="218">
                  <c:v>15836</c:v>
                </c:pt>
                <c:pt idx="219">
                  <c:v>15852</c:v>
                </c:pt>
                <c:pt idx="220">
                  <c:v>15860</c:v>
                </c:pt>
                <c:pt idx="221">
                  <c:v>15865</c:v>
                </c:pt>
                <c:pt idx="222">
                  <c:v>15866</c:v>
                </c:pt>
                <c:pt idx="223">
                  <c:v>15874</c:v>
                </c:pt>
                <c:pt idx="224">
                  <c:v>15880</c:v>
                </c:pt>
                <c:pt idx="225">
                  <c:v>15884</c:v>
                </c:pt>
                <c:pt idx="226">
                  <c:v>15890</c:v>
                </c:pt>
                <c:pt idx="227">
                  <c:v>15896</c:v>
                </c:pt>
                <c:pt idx="228">
                  <c:v>15897</c:v>
                </c:pt>
                <c:pt idx="229">
                  <c:v>15898</c:v>
                </c:pt>
                <c:pt idx="230">
                  <c:v>15908</c:v>
                </c:pt>
                <c:pt idx="231">
                  <c:v>15911</c:v>
                </c:pt>
                <c:pt idx="232">
                  <c:v>15915</c:v>
                </c:pt>
                <c:pt idx="233">
                  <c:v>15919</c:v>
                </c:pt>
                <c:pt idx="234">
                  <c:v>15922</c:v>
                </c:pt>
                <c:pt idx="235">
                  <c:v>15923</c:v>
                </c:pt>
                <c:pt idx="236">
                  <c:v>15923</c:v>
                </c:pt>
                <c:pt idx="237">
                  <c:v>15931</c:v>
                </c:pt>
                <c:pt idx="238">
                  <c:v>15938</c:v>
                </c:pt>
                <c:pt idx="239">
                  <c:v>15940</c:v>
                </c:pt>
                <c:pt idx="240">
                  <c:v>15942</c:v>
                </c:pt>
                <c:pt idx="241">
                  <c:v>15947</c:v>
                </c:pt>
                <c:pt idx="242">
                  <c:v>15947</c:v>
                </c:pt>
                <c:pt idx="243">
                  <c:v>15948</c:v>
                </c:pt>
                <c:pt idx="244">
                  <c:v>15950</c:v>
                </c:pt>
                <c:pt idx="245">
                  <c:v>15952</c:v>
                </c:pt>
                <c:pt idx="246">
                  <c:v>15953</c:v>
                </c:pt>
                <c:pt idx="247">
                  <c:v>15958</c:v>
                </c:pt>
                <c:pt idx="248">
                  <c:v>15960</c:v>
                </c:pt>
                <c:pt idx="249">
                  <c:v>15961</c:v>
                </c:pt>
                <c:pt idx="250">
                  <c:v>15961</c:v>
                </c:pt>
                <c:pt idx="251">
                  <c:v>15962</c:v>
                </c:pt>
                <c:pt idx="252">
                  <c:v>15966</c:v>
                </c:pt>
                <c:pt idx="253">
                  <c:v>15966</c:v>
                </c:pt>
                <c:pt idx="254">
                  <c:v>15968</c:v>
                </c:pt>
                <c:pt idx="255">
                  <c:v>15969</c:v>
                </c:pt>
                <c:pt idx="256">
                  <c:v>15969</c:v>
                </c:pt>
                <c:pt idx="257">
                  <c:v>15969</c:v>
                </c:pt>
                <c:pt idx="258">
                  <c:v>15974</c:v>
                </c:pt>
                <c:pt idx="259">
                  <c:v>15978</c:v>
                </c:pt>
                <c:pt idx="260">
                  <c:v>15980</c:v>
                </c:pt>
                <c:pt idx="261">
                  <c:v>15983</c:v>
                </c:pt>
                <c:pt idx="262">
                  <c:v>15984</c:v>
                </c:pt>
                <c:pt idx="263">
                  <c:v>15984</c:v>
                </c:pt>
                <c:pt idx="264">
                  <c:v>15984</c:v>
                </c:pt>
                <c:pt idx="265">
                  <c:v>15986</c:v>
                </c:pt>
                <c:pt idx="266">
                  <c:v>15987</c:v>
                </c:pt>
                <c:pt idx="267">
                  <c:v>15988</c:v>
                </c:pt>
                <c:pt idx="268">
                  <c:v>15989</c:v>
                </c:pt>
                <c:pt idx="269">
                  <c:v>15989</c:v>
                </c:pt>
                <c:pt idx="270">
                  <c:v>15989</c:v>
                </c:pt>
                <c:pt idx="271">
                  <c:v>15989</c:v>
                </c:pt>
                <c:pt idx="272">
                  <c:v>15989</c:v>
                </c:pt>
                <c:pt idx="273">
                  <c:v>15989</c:v>
                </c:pt>
                <c:pt idx="274">
                  <c:v>15989</c:v>
                </c:pt>
                <c:pt idx="275">
                  <c:v>15990</c:v>
                </c:pt>
                <c:pt idx="276">
                  <c:v>15990</c:v>
                </c:pt>
                <c:pt idx="277">
                  <c:v>15990</c:v>
                </c:pt>
                <c:pt idx="278">
                  <c:v>15990</c:v>
                </c:pt>
                <c:pt idx="279">
                  <c:v>15990</c:v>
                </c:pt>
                <c:pt idx="280">
                  <c:v>15990</c:v>
                </c:pt>
                <c:pt idx="281">
                  <c:v>15990</c:v>
                </c:pt>
                <c:pt idx="282">
                  <c:v>15990</c:v>
                </c:pt>
                <c:pt idx="283">
                  <c:v>15990</c:v>
                </c:pt>
                <c:pt idx="284">
                  <c:v>15990</c:v>
                </c:pt>
                <c:pt idx="285">
                  <c:v>15990</c:v>
                </c:pt>
                <c:pt idx="286">
                  <c:v>15990</c:v>
                </c:pt>
                <c:pt idx="287">
                  <c:v>15990</c:v>
                </c:pt>
                <c:pt idx="288">
                  <c:v>15990</c:v>
                </c:pt>
                <c:pt idx="289">
                  <c:v>15990</c:v>
                </c:pt>
                <c:pt idx="290">
                  <c:v>15990</c:v>
                </c:pt>
                <c:pt idx="291">
                  <c:v>15990</c:v>
                </c:pt>
                <c:pt idx="292">
                  <c:v>15990</c:v>
                </c:pt>
                <c:pt idx="293">
                  <c:v>15990</c:v>
                </c:pt>
                <c:pt idx="294">
                  <c:v>15990</c:v>
                </c:pt>
                <c:pt idx="295">
                  <c:v>15990</c:v>
                </c:pt>
                <c:pt idx="296">
                  <c:v>15990</c:v>
                </c:pt>
                <c:pt idx="297">
                  <c:v>15990</c:v>
                </c:pt>
                <c:pt idx="298">
                  <c:v>15990</c:v>
                </c:pt>
                <c:pt idx="299">
                  <c:v>15990</c:v>
                </c:pt>
                <c:pt idx="300">
                  <c:v>15990</c:v>
                </c:pt>
                <c:pt idx="301">
                  <c:v>15990</c:v>
                </c:pt>
                <c:pt idx="302">
                  <c:v>15991</c:v>
                </c:pt>
                <c:pt idx="303">
                  <c:v>15991</c:v>
                </c:pt>
                <c:pt idx="304">
                  <c:v>15991</c:v>
                </c:pt>
                <c:pt idx="305">
                  <c:v>15991</c:v>
                </c:pt>
                <c:pt idx="306">
                  <c:v>15991</c:v>
                </c:pt>
                <c:pt idx="307">
                  <c:v>15991</c:v>
                </c:pt>
                <c:pt idx="308">
                  <c:v>15991</c:v>
                </c:pt>
                <c:pt idx="309">
                  <c:v>15991</c:v>
                </c:pt>
                <c:pt idx="310">
                  <c:v>15991</c:v>
                </c:pt>
                <c:pt idx="311">
                  <c:v>15991</c:v>
                </c:pt>
                <c:pt idx="312">
                  <c:v>15991</c:v>
                </c:pt>
                <c:pt idx="313">
                  <c:v>15992</c:v>
                </c:pt>
                <c:pt idx="314">
                  <c:v>15992</c:v>
                </c:pt>
                <c:pt idx="315">
                  <c:v>15992</c:v>
                </c:pt>
                <c:pt idx="316">
                  <c:v>15992</c:v>
                </c:pt>
                <c:pt idx="317">
                  <c:v>15992</c:v>
                </c:pt>
                <c:pt idx="318">
                  <c:v>15992</c:v>
                </c:pt>
                <c:pt idx="319">
                  <c:v>15992</c:v>
                </c:pt>
                <c:pt idx="320">
                  <c:v>15992</c:v>
                </c:pt>
                <c:pt idx="321">
                  <c:v>15992</c:v>
                </c:pt>
                <c:pt idx="322">
                  <c:v>15992</c:v>
                </c:pt>
                <c:pt idx="323">
                  <c:v>15993</c:v>
                </c:pt>
                <c:pt idx="324">
                  <c:v>15993</c:v>
                </c:pt>
                <c:pt idx="325">
                  <c:v>15993</c:v>
                </c:pt>
                <c:pt idx="326">
                  <c:v>15993</c:v>
                </c:pt>
                <c:pt idx="327">
                  <c:v>15993</c:v>
                </c:pt>
                <c:pt idx="328">
                  <c:v>15993</c:v>
                </c:pt>
                <c:pt idx="329">
                  <c:v>15994</c:v>
                </c:pt>
                <c:pt idx="330">
                  <c:v>15996</c:v>
                </c:pt>
                <c:pt idx="331">
                  <c:v>15996</c:v>
                </c:pt>
                <c:pt idx="332">
                  <c:v>15996</c:v>
                </c:pt>
                <c:pt idx="333">
                  <c:v>15996</c:v>
                </c:pt>
                <c:pt idx="334">
                  <c:v>15996</c:v>
                </c:pt>
                <c:pt idx="335">
                  <c:v>15996</c:v>
                </c:pt>
                <c:pt idx="336">
                  <c:v>15996</c:v>
                </c:pt>
                <c:pt idx="337">
                  <c:v>15996</c:v>
                </c:pt>
                <c:pt idx="338">
                  <c:v>15996</c:v>
                </c:pt>
                <c:pt idx="339">
                  <c:v>15996</c:v>
                </c:pt>
                <c:pt idx="340">
                  <c:v>15996</c:v>
                </c:pt>
                <c:pt idx="341">
                  <c:v>15997</c:v>
                </c:pt>
                <c:pt idx="342">
                  <c:v>15997</c:v>
                </c:pt>
                <c:pt idx="343">
                  <c:v>15997</c:v>
                </c:pt>
                <c:pt idx="344">
                  <c:v>15998</c:v>
                </c:pt>
                <c:pt idx="345">
                  <c:v>15998</c:v>
                </c:pt>
                <c:pt idx="346">
                  <c:v>15998</c:v>
                </c:pt>
                <c:pt idx="347">
                  <c:v>15998</c:v>
                </c:pt>
                <c:pt idx="348">
                  <c:v>15998</c:v>
                </c:pt>
                <c:pt idx="349">
                  <c:v>15998</c:v>
                </c:pt>
                <c:pt idx="350">
                  <c:v>15998</c:v>
                </c:pt>
                <c:pt idx="351">
                  <c:v>15998</c:v>
                </c:pt>
                <c:pt idx="352">
                  <c:v>15998</c:v>
                </c:pt>
                <c:pt idx="353">
                  <c:v>15998</c:v>
                </c:pt>
                <c:pt idx="354">
                  <c:v>15998</c:v>
                </c:pt>
                <c:pt idx="355">
                  <c:v>15998</c:v>
                </c:pt>
                <c:pt idx="356">
                  <c:v>15999</c:v>
                </c:pt>
                <c:pt idx="357">
                  <c:v>15999</c:v>
                </c:pt>
                <c:pt idx="358">
                  <c:v>15999</c:v>
                </c:pt>
                <c:pt idx="359">
                  <c:v>16000</c:v>
                </c:pt>
                <c:pt idx="360">
                  <c:v>16001</c:v>
                </c:pt>
                <c:pt idx="361">
                  <c:v>16002</c:v>
                </c:pt>
                <c:pt idx="362">
                  <c:v>16002</c:v>
                </c:pt>
                <c:pt idx="363">
                  <c:v>16002</c:v>
                </c:pt>
                <c:pt idx="364">
                  <c:v>16002</c:v>
                </c:pt>
                <c:pt idx="365">
                  <c:v>16005</c:v>
                </c:pt>
                <c:pt idx="366">
                  <c:v>16006</c:v>
                </c:pt>
                <c:pt idx="367">
                  <c:v>16007</c:v>
                </c:pt>
                <c:pt idx="368">
                  <c:v>16007</c:v>
                </c:pt>
                <c:pt idx="369">
                  <c:v>16007</c:v>
                </c:pt>
                <c:pt idx="370">
                  <c:v>16008</c:v>
                </c:pt>
                <c:pt idx="371">
                  <c:v>16010</c:v>
                </c:pt>
                <c:pt idx="372">
                  <c:v>16011</c:v>
                </c:pt>
                <c:pt idx="373">
                  <c:v>16012</c:v>
                </c:pt>
                <c:pt idx="374">
                  <c:v>16012</c:v>
                </c:pt>
                <c:pt idx="375">
                  <c:v>16012</c:v>
                </c:pt>
                <c:pt idx="376">
                  <c:v>16013</c:v>
                </c:pt>
                <c:pt idx="377">
                  <c:v>16013</c:v>
                </c:pt>
                <c:pt idx="378">
                  <c:v>16014</c:v>
                </c:pt>
                <c:pt idx="379">
                  <c:v>16014</c:v>
                </c:pt>
                <c:pt idx="380">
                  <c:v>16014</c:v>
                </c:pt>
                <c:pt idx="381">
                  <c:v>16014</c:v>
                </c:pt>
                <c:pt idx="382">
                  <c:v>16015</c:v>
                </c:pt>
                <c:pt idx="383">
                  <c:v>16015</c:v>
                </c:pt>
                <c:pt idx="384">
                  <c:v>16019</c:v>
                </c:pt>
                <c:pt idx="385">
                  <c:v>16023</c:v>
                </c:pt>
                <c:pt idx="386">
                  <c:v>16025</c:v>
                </c:pt>
                <c:pt idx="387">
                  <c:v>16025</c:v>
                </c:pt>
                <c:pt idx="388">
                  <c:v>16025</c:v>
                </c:pt>
                <c:pt idx="389">
                  <c:v>16026</c:v>
                </c:pt>
                <c:pt idx="390">
                  <c:v>16027</c:v>
                </c:pt>
                <c:pt idx="391">
                  <c:v>16032</c:v>
                </c:pt>
                <c:pt idx="392">
                  <c:v>16034</c:v>
                </c:pt>
                <c:pt idx="393">
                  <c:v>16041</c:v>
                </c:pt>
                <c:pt idx="394">
                  <c:v>16044</c:v>
                </c:pt>
                <c:pt idx="395">
                  <c:v>16046</c:v>
                </c:pt>
                <c:pt idx="396">
                  <c:v>16046</c:v>
                </c:pt>
                <c:pt idx="397">
                  <c:v>16046</c:v>
                </c:pt>
                <c:pt idx="398">
                  <c:v>16049</c:v>
                </c:pt>
                <c:pt idx="399">
                  <c:v>16054</c:v>
                </c:pt>
                <c:pt idx="400">
                  <c:v>16056</c:v>
                </c:pt>
                <c:pt idx="401">
                  <c:v>16057</c:v>
                </c:pt>
                <c:pt idx="402">
                  <c:v>16059</c:v>
                </c:pt>
                <c:pt idx="403">
                  <c:v>16060</c:v>
                </c:pt>
                <c:pt idx="404">
                  <c:v>16060</c:v>
                </c:pt>
                <c:pt idx="405">
                  <c:v>16062</c:v>
                </c:pt>
                <c:pt idx="406">
                  <c:v>16065</c:v>
                </c:pt>
                <c:pt idx="407">
                  <c:v>16066</c:v>
                </c:pt>
                <c:pt idx="408">
                  <c:v>16069</c:v>
                </c:pt>
                <c:pt idx="409">
                  <c:v>16075</c:v>
                </c:pt>
                <c:pt idx="410">
                  <c:v>16077</c:v>
                </c:pt>
                <c:pt idx="411">
                  <c:v>16078</c:v>
                </c:pt>
                <c:pt idx="412">
                  <c:v>16090</c:v>
                </c:pt>
                <c:pt idx="413">
                  <c:v>16098</c:v>
                </c:pt>
                <c:pt idx="414">
                  <c:v>16107</c:v>
                </c:pt>
                <c:pt idx="415">
                  <c:v>16114</c:v>
                </c:pt>
                <c:pt idx="416">
                  <c:v>16124</c:v>
                </c:pt>
                <c:pt idx="417">
                  <c:v>16124</c:v>
                </c:pt>
                <c:pt idx="418">
                  <c:v>16127</c:v>
                </c:pt>
                <c:pt idx="419">
                  <c:v>16146</c:v>
                </c:pt>
                <c:pt idx="420">
                  <c:v>16151</c:v>
                </c:pt>
                <c:pt idx="421">
                  <c:v>16168</c:v>
                </c:pt>
                <c:pt idx="422">
                  <c:v>16171</c:v>
                </c:pt>
                <c:pt idx="423">
                  <c:v>16179</c:v>
                </c:pt>
                <c:pt idx="424">
                  <c:v>16184</c:v>
                </c:pt>
                <c:pt idx="425">
                  <c:v>16188</c:v>
                </c:pt>
                <c:pt idx="426">
                  <c:v>16229</c:v>
                </c:pt>
                <c:pt idx="427">
                  <c:v>16254</c:v>
                </c:pt>
                <c:pt idx="428">
                  <c:v>16273</c:v>
                </c:pt>
                <c:pt idx="429">
                  <c:v>16297</c:v>
                </c:pt>
                <c:pt idx="430">
                  <c:v>16324</c:v>
                </c:pt>
                <c:pt idx="431">
                  <c:v>16337</c:v>
                </c:pt>
                <c:pt idx="432">
                  <c:v>16342</c:v>
                </c:pt>
                <c:pt idx="433">
                  <c:v>16392</c:v>
                </c:pt>
                <c:pt idx="434">
                  <c:v>16417</c:v>
                </c:pt>
                <c:pt idx="435">
                  <c:v>16446</c:v>
                </c:pt>
                <c:pt idx="436">
                  <c:v>16482</c:v>
                </c:pt>
                <c:pt idx="437">
                  <c:v>16516</c:v>
                </c:pt>
                <c:pt idx="438">
                  <c:v>16536</c:v>
                </c:pt>
                <c:pt idx="439">
                  <c:v>16550</c:v>
                </c:pt>
                <c:pt idx="440">
                  <c:v>16605</c:v>
                </c:pt>
                <c:pt idx="441">
                  <c:v>16638</c:v>
                </c:pt>
                <c:pt idx="442">
                  <c:v>16651</c:v>
                </c:pt>
                <c:pt idx="443">
                  <c:v>16693</c:v>
                </c:pt>
                <c:pt idx="444">
                  <c:v>16745</c:v>
                </c:pt>
                <c:pt idx="445">
                  <c:v>16756</c:v>
                </c:pt>
                <c:pt idx="446">
                  <c:v>16763</c:v>
                </c:pt>
                <c:pt idx="447">
                  <c:v>16831</c:v>
                </c:pt>
                <c:pt idx="448">
                  <c:v>16875</c:v>
                </c:pt>
                <c:pt idx="449">
                  <c:v>16920</c:v>
                </c:pt>
                <c:pt idx="450">
                  <c:v>16968</c:v>
                </c:pt>
                <c:pt idx="451">
                  <c:v>17016</c:v>
                </c:pt>
                <c:pt idx="452">
                  <c:v>17038</c:v>
                </c:pt>
                <c:pt idx="453">
                  <c:v>17046</c:v>
                </c:pt>
                <c:pt idx="454">
                  <c:v>17089</c:v>
                </c:pt>
                <c:pt idx="455">
                  <c:v>17137</c:v>
                </c:pt>
                <c:pt idx="456">
                  <c:v>17177</c:v>
                </c:pt>
                <c:pt idx="457">
                  <c:v>17209</c:v>
                </c:pt>
                <c:pt idx="458">
                  <c:v>17236</c:v>
                </c:pt>
                <c:pt idx="459">
                  <c:v>17257</c:v>
                </c:pt>
                <c:pt idx="460">
                  <c:v>17266</c:v>
                </c:pt>
                <c:pt idx="461">
                  <c:v>17314</c:v>
                </c:pt>
                <c:pt idx="462">
                  <c:v>17348</c:v>
                </c:pt>
                <c:pt idx="463">
                  <c:v>17382</c:v>
                </c:pt>
                <c:pt idx="464">
                  <c:v>17407</c:v>
                </c:pt>
                <c:pt idx="465">
                  <c:v>17425</c:v>
                </c:pt>
                <c:pt idx="466">
                  <c:v>17438</c:v>
                </c:pt>
                <c:pt idx="467">
                  <c:v>17445</c:v>
                </c:pt>
                <c:pt idx="468">
                  <c:v>17475</c:v>
                </c:pt>
                <c:pt idx="469">
                  <c:v>17511</c:v>
                </c:pt>
                <c:pt idx="470">
                  <c:v>17539</c:v>
                </c:pt>
                <c:pt idx="471">
                  <c:v>17556</c:v>
                </c:pt>
                <c:pt idx="472">
                  <c:v>17570</c:v>
                </c:pt>
                <c:pt idx="473">
                  <c:v>17577</c:v>
                </c:pt>
                <c:pt idx="474">
                  <c:v>17587</c:v>
                </c:pt>
                <c:pt idx="475">
                  <c:v>17610</c:v>
                </c:pt>
                <c:pt idx="476">
                  <c:v>17622</c:v>
                </c:pt>
                <c:pt idx="477">
                  <c:v>17629</c:v>
                </c:pt>
                <c:pt idx="478">
                  <c:v>17637</c:v>
                </c:pt>
                <c:pt idx="479">
                  <c:v>17643</c:v>
                </c:pt>
                <c:pt idx="480">
                  <c:v>17645</c:v>
                </c:pt>
                <c:pt idx="481">
                  <c:v>17650</c:v>
                </c:pt>
                <c:pt idx="482">
                  <c:v>17656</c:v>
                </c:pt>
                <c:pt idx="483">
                  <c:v>17676</c:v>
                </c:pt>
                <c:pt idx="484">
                  <c:v>17686</c:v>
                </c:pt>
                <c:pt idx="485">
                  <c:v>17704</c:v>
                </c:pt>
                <c:pt idx="486">
                  <c:v>17712</c:v>
                </c:pt>
                <c:pt idx="487">
                  <c:v>17712</c:v>
                </c:pt>
                <c:pt idx="488">
                  <c:v>17713</c:v>
                </c:pt>
                <c:pt idx="489">
                  <c:v>17727</c:v>
                </c:pt>
                <c:pt idx="490">
                  <c:v>17744</c:v>
                </c:pt>
                <c:pt idx="491">
                  <c:v>17751</c:v>
                </c:pt>
                <c:pt idx="492">
                  <c:v>17758</c:v>
                </c:pt>
                <c:pt idx="493">
                  <c:v>177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95</c:f>
              <c:numCache>
                <c:formatCode>m/d/yyyy</c:formatCode>
                <c:ptCount val="49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</c:numCache>
            </c:numRef>
          </c:cat>
          <c:val>
            <c:numRef>
              <c:f>List1!$D$2:$D$495</c:f>
              <c:numCache>
                <c:formatCode>General</c:formatCode>
                <c:ptCount val="494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20</c:v>
                </c:pt>
                <c:pt idx="12">
                  <c:v>21</c:v>
                </c:pt>
                <c:pt idx="13">
                  <c:v>24</c:v>
                </c:pt>
                <c:pt idx="14">
                  <c:v>25</c:v>
                </c:pt>
                <c:pt idx="15">
                  <c:v>27</c:v>
                </c:pt>
                <c:pt idx="16">
                  <c:v>29</c:v>
                </c:pt>
                <c:pt idx="17">
                  <c:v>33</c:v>
                </c:pt>
                <c:pt idx="18">
                  <c:v>35</c:v>
                </c:pt>
                <c:pt idx="19">
                  <c:v>42</c:v>
                </c:pt>
                <c:pt idx="20">
                  <c:v>48</c:v>
                </c:pt>
                <c:pt idx="21">
                  <c:v>52</c:v>
                </c:pt>
                <c:pt idx="22">
                  <c:v>54</c:v>
                </c:pt>
                <c:pt idx="23">
                  <c:v>61</c:v>
                </c:pt>
                <c:pt idx="24">
                  <c:v>74</c:v>
                </c:pt>
                <c:pt idx="25">
                  <c:v>86</c:v>
                </c:pt>
                <c:pt idx="26">
                  <c:v>93</c:v>
                </c:pt>
                <c:pt idx="27">
                  <c:v>100</c:v>
                </c:pt>
                <c:pt idx="28">
                  <c:v>128</c:v>
                </c:pt>
                <c:pt idx="29">
                  <c:v>166</c:v>
                </c:pt>
                <c:pt idx="30">
                  <c:v>227</c:v>
                </c:pt>
                <c:pt idx="31">
                  <c:v>384</c:v>
                </c:pt>
                <c:pt idx="32">
                  <c:v>451</c:v>
                </c:pt>
                <c:pt idx="33">
                  <c:v>535</c:v>
                </c:pt>
                <c:pt idx="34">
                  <c:v>792</c:v>
                </c:pt>
                <c:pt idx="35">
                  <c:v>920</c:v>
                </c:pt>
                <c:pt idx="36">
                  <c:v>1007</c:v>
                </c:pt>
                <c:pt idx="37">
                  <c:v>1169</c:v>
                </c:pt>
                <c:pt idx="38">
                  <c:v>1395</c:v>
                </c:pt>
                <c:pt idx="39">
                  <c:v>1476</c:v>
                </c:pt>
                <c:pt idx="40">
                  <c:v>1512</c:v>
                </c:pt>
                <c:pt idx="41">
                  <c:v>1811</c:v>
                </c:pt>
                <c:pt idx="42">
                  <c:v>2189</c:v>
                </c:pt>
                <c:pt idx="43">
                  <c:v>2561</c:v>
                </c:pt>
                <c:pt idx="44">
                  <c:v>2957</c:v>
                </c:pt>
                <c:pt idx="45">
                  <c:v>3373</c:v>
                </c:pt>
                <c:pt idx="46">
                  <c:v>3634</c:v>
                </c:pt>
                <c:pt idx="47">
                  <c:v>3723</c:v>
                </c:pt>
                <c:pt idx="48">
                  <c:v>4157</c:v>
                </c:pt>
                <c:pt idx="49">
                  <c:v>4550</c:v>
                </c:pt>
                <c:pt idx="50">
                  <c:v>5135</c:v>
                </c:pt>
                <c:pt idx="51">
                  <c:v>5598</c:v>
                </c:pt>
                <c:pt idx="52">
                  <c:v>6349</c:v>
                </c:pt>
                <c:pt idx="53">
                  <c:v>6763</c:v>
                </c:pt>
                <c:pt idx="54">
                  <c:v>7048</c:v>
                </c:pt>
                <c:pt idx="55">
                  <c:v>7812</c:v>
                </c:pt>
                <c:pt idx="56">
                  <c:v>8732</c:v>
                </c:pt>
                <c:pt idx="57">
                  <c:v>9126</c:v>
                </c:pt>
                <c:pt idx="58">
                  <c:v>10135</c:v>
                </c:pt>
                <c:pt idx="59">
                  <c:v>11055</c:v>
                </c:pt>
                <c:pt idx="60">
                  <c:v>11575</c:v>
                </c:pt>
                <c:pt idx="61">
                  <c:v>11903</c:v>
                </c:pt>
                <c:pt idx="62">
                  <c:v>12533</c:v>
                </c:pt>
                <c:pt idx="63">
                  <c:v>13096</c:v>
                </c:pt>
                <c:pt idx="64">
                  <c:v>13851</c:v>
                </c:pt>
                <c:pt idx="65">
                  <c:v>14665</c:v>
                </c:pt>
                <c:pt idx="66">
                  <c:v>15394</c:v>
                </c:pt>
                <c:pt idx="67">
                  <c:v>15725</c:v>
                </c:pt>
                <c:pt idx="68">
                  <c:v>15851</c:v>
                </c:pt>
                <c:pt idx="69">
                  <c:v>16252</c:v>
                </c:pt>
                <c:pt idx="70">
                  <c:v>16842</c:v>
                </c:pt>
                <c:pt idx="71">
                  <c:v>17781</c:v>
                </c:pt>
                <c:pt idx="72">
                  <c:v>18511</c:v>
                </c:pt>
                <c:pt idx="73">
                  <c:v>19196</c:v>
                </c:pt>
                <c:pt idx="74">
                  <c:v>19449</c:v>
                </c:pt>
                <c:pt idx="75">
                  <c:v>19644</c:v>
                </c:pt>
                <c:pt idx="76">
                  <c:v>20206</c:v>
                </c:pt>
                <c:pt idx="77">
                  <c:v>20390</c:v>
                </c:pt>
                <c:pt idx="78">
                  <c:v>20819</c:v>
                </c:pt>
                <c:pt idx="79">
                  <c:v>21217</c:v>
                </c:pt>
                <c:pt idx="80">
                  <c:v>21578</c:v>
                </c:pt>
                <c:pt idx="81">
                  <c:v>21708</c:v>
                </c:pt>
                <c:pt idx="82">
                  <c:v>21816</c:v>
                </c:pt>
                <c:pt idx="83">
                  <c:v>22334</c:v>
                </c:pt>
                <c:pt idx="84">
                  <c:v>22639</c:v>
                </c:pt>
                <c:pt idx="85">
                  <c:v>22857</c:v>
                </c:pt>
                <c:pt idx="86">
                  <c:v>23106</c:v>
                </c:pt>
                <c:pt idx="87">
                  <c:v>23325</c:v>
                </c:pt>
                <c:pt idx="88">
                  <c:v>23426</c:v>
                </c:pt>
                <c:pt idx="89">
                  <c:v>23470</c:v>
                </c:pt>
                <c:pt idx="90">
                  <c:v>23788</c:v>
                </c:pt>
                <c:pt idx="91">
                  <c:v>23997</c:v>
                </c:pt>
                <c:pt idx="92">
                  <c:v>24195</c:v>
                </c:pt>
                <c:pt idx="93">
                  <c:v>24381</c:v>
                </c:pt>
                <c:pt idx="94">
                  <c:v>24612</c:v>
                </c:pt>
                <c:pt idx="95">
                  <c:v>24741</c:v>
                </c:pt>
                <c:pt idx="96">
                  <c:v>24786</c:v>
                </c:pt>
                <c:pt idx="97">
                  <c:v>25048</c:v>
                </c:pt>
                <c:pt idx="98">
                  <c:v>25213</c:v>
                </c:pt>
                <c:pt idx="99">
                  <c:v>25417</c:v>
                </c:pt>
                <c:pt idx="100">
                  <c:v>25559</c:v>
                </c:pt>
                <c:pt idx="101">
                  <c:v>25866</c:v>
                </c:pt>
                <c:pt idx="102">
                  <c:v>25954</c:v>
                </c:pt>
                <c:pt idx="103">
                  <c:v>26020</c:v>
                </c:pt>
                <c:pt idx="104">
                  <c:v>26296</c:v>
                </c:pt>
                <c:pt idx="105">
                  <c:v>26500</c:v>
                </c:pt>
                <c:pt idx="106">
                  <c:v>26696</c:v>
                </c:pt>
                <c:pt idx="107">
                  <c:v>26815</c:v>
                </c:pt>
                <c:pt idx="108">
                  <c:v>27120</c:v>
                </c:pt>
                <c:pt idx="109">
                  <c:v>27208</c:v>
                </c:pt>
                <c:pt idx="110">
                  <c:v>27256</c:v>
                </c:pt>
                <c:pt idx="111">
                  <c:v>27592</c:v>
                </c:pt>
                <c:pt idx="112">
                  <c:v>27879</c:v>
                </c:pt>
                <c:pt idx="113">
                  <c:v>28117</c:v>
                </c:pt>
                <c:pt idx="114">
                  <c:v>28163</c:v>
                </c:pt>
                <c:pt idx="115">
                  <c:v>28279</c:v>
                </c:pt>
                <c:pt idx="116">
                  <c:v>28406</c:v>
                </c:pt>
                <c:pt idx="117">
                  <c:v>28550</c:v>
                </c:pt>
                <c:pt idx="118">
                  <c:v>28907</c:v>
                </c:pt>
                <c:pt idx="119">
                  <c:v>29239</c:v>
                </c:pt>
                <c:pt idx="120">
                  <c:v>29495</c:v>
                </c:pt>
                <c:pt idx="121">
                  <c:v>29713</c:v>
                </c:pt>
                <c:pt idx="122">
                  <c:v>29807</c:v>
                </c:pt>
                <c:pt idx="123">
                  <c:v>29925</c:v>
                </c:pt>
                <c:pt idx="124">
                  <c:v>30002</c:v>
                </c:pt>
                <c:pt idx="125">
                  <c:v>30548</c:v>
                </c:pt>
                <c:pt idx="126">
                  <c:v>30844</c:v>
                </c:pt>
                <c:pt idx="127">
                  <c:v>31116</c:v>
                </c:pt>
                <c:pt idx="128">
                  <c:v>31448</c:v>
                </c:pt>
                <c:pt idx="129">
                  <c:v>31755</c:v>
                </c:pt>
                <c:pt idx="130">
                  <c:v>31864</c:v>
                </c:pt>
                <c:pt idx="131">
                  <c:v>31920</c:v>
                </c:pt>
                <c:pt idx="132">
                  <c:v>32388</c:v>
                </c:pt>
                <c:pt idx="133">
                  <c:v>32611</c:v>
                </c:pt>
                <c:pt idx="134">
                  <c:v>32895</c:v>
                </c:pt>
                <c:pt idx="135">
                  <c:v>33045</c:v>
                </c:pt>
                <c:pt idx="136">
                  <c:v>33196</c:v>
                </c:pt>
                <c:pt idx="137">
                  <c:v>33263</c:v>
                </c:pt>
                <c:pt idx="138">
                  <c:v>33334</c:v>
                </c:pt>
                <c:pt idx="139">
                  <c:v>33621</c:v>
                </c:pt>
                <c:pt idx="140">
                  <c:v>33775</c:v>
                </c:pt>
                <c:pt idx="141">
                  <c:v>33992</c:v>
                </c:pt>
                <c:pt idx="142">
                  <c:v>34158</c:v>
                </c:pt>
                <c:pt idx="143">
                  <c:v>34351</c:v>
                </c:pt>
                <c:pt idx="144">
                  <c:v>34431</c:v>
                </c:pt>
                <c:pt idx="145">
                  <c:v>34467</c:v>
                </c:pt>
                <c:pt idx="146">
                  <c:v>34640</c:v>
                </c:pt>
                <c:pt idx="147">
                  <c:v>34757</c:v>
                </c:pt>
                <c:pt idx="148">
                  <c:v>34912</c:v>
                </c:pt>
                <c:pt idx="149">
                  <c:v>35011</c:v>
                </c:pt>
                <c:pt idx="150">
                  <c:v>35094</c:v>
                </c:pt>
                <c:pt idx="151">
                  <c:v>35173</c:v>
                </c:pt>
                <c:pt idx="152">
                  <c:v>35191</c:v>
                </c:pt>
                <c:pt idx="153">
                  <c:v>35377</c:v>
                </c:pt>
                <c:pt idx="154">
                  <c:v>35540</c:v>
                </c:pt>
                <c:pt idx="155">
                  <c:v>35701</c:v>
                </c:pt>
                <c:pt idx="156">
                  <c:v>35825</c:v>
                </c:pt>
                <c:pt idx="157">
                  <c:v>35957</c:v>
                </c:pt>
                <c:pt idx="158">
                  <c:v>36010</c:v>
                </c:pt>
                <c:pt idx="159">
                  <c:v>36043</c:v>
                </c:pt>
                <c:pt idx="160">
                  <c:v>36179</c:v>
                </c:pt>
                <c:pt idx="161">
                  <c:v>36266</c:v>
                </c:pt>
                <c:pt idx="162">
                  <c:v>36367</c:v>
                </c:pt>
                <c:pt idx="163">
                  <c:v>36471</c:v>
                </c:pt>
                <c:pt idx="164">
                  <c:v>36562</c:v>
                </c:pt>
                <c:pt idx="165">
                  <c:v>36585</c:v>
                </c:pt>
                <c:pt idx="166">
                  <c:v>36608</c:v>
                </c:pt>
                <c:pt idx="167">
                  <c:v>36708</c:v>
                </c:pt>
                <c:pt idx="168">
                  <c:v>36758</c:v>
                </c:pt>
                <c:pt idx="169">
                  <c:v>36824</c:v>
                </c:pt>
                <c:pt idx="170">
                  <c:v>36880</c:v>
                </c:pt>
                <c:pt idx="171">
                  <c:v>36942</c:v>
                </c:pt>
                <c:pt idx="172">
                  <c:v>36966</c:v>
                </c:pt>
                <c:pt idx="173">
                  <c:v>36989</c:v>
                </c:pt>
                <c:pt idx="174">
                  <c:v>37152</c:v>
                </c:pt>
                <c:pt idx="175">
                  <c:v>37233</c:v>
                </c:pt>
                <c:pt idx="176">
                  <c:v>37301</c:v>
                </c:pt>
                <c:pt idx="177">
                  <c:v>37380</c:v>
                </c:pt>
                <c:pt idx="178">
                  <c:v>37465</c:v>
                </c:pt>
                <c:pt idx="179">
                  <c:v>37483</c:v>
                </c:pt>
                <c:pt idx="180">
                  <c:v>37495</c:v>
                </c:pt>
                <c:pt idx="181">
                  <c:v>37630</c:v>
                </c:pt>
                <c:pt idx="182">
                  <c:v>37697</c:v>
                </c:pt>
                <c:pt idx="183">
                  <c:v>37799</c:v>
                </c:pt>
                <c:pt idx="184">
                  <c:v>37848</c:v>
                </c:pt>
                <c:pt idx="185">
                  <c:v>37899</c:v>
                </c:pt>
                <c:pt idx="186">
                  <c:v>37918</c:v>
                </c:pt>
                <c:pt idx="187">
                  <c:v>37933</c:v>
                </c:pt>
                <c:pt idx="188">
                  <c:v>38021</c:v>
                </c:pt>
                <c:pt idx="189">
                  <c:v>38137</c:v>
                </c:pt>
                <c:pt idx="190">
                  <c:v>38221</c:v>
                </c:pt>
                <c:pt idx="191">
                  <c:v>38259</c:v>
                </c:pt>
                <c:pt idx="192">
                  <c:v>38302</c:v>
                </c:pt>
                <c:pt idx="193">
                  <c:v>38322</c:v>
                </c:pt>
                <c:pt idx="194">
                  <c:v>38335</c:v>
                </c:pt>
                <c:pt idx="195">
                  <c:v>38400</c:v>
                </c:pt>
                <c:pt idx="196">
                  <c:v>38443</c:v>
                </c:pt>
                <c:pt idx="197">
                  <c:v>38473</c:v>
                </c:pt>
                <c:pt idx="198">
                  <c:v>38526</c:v>
                </c:pt>
                <c:pt idx="199">
                  <c:v>38564</c:v>
                </c:pt>
                <c:pt idx="200">
                  <c:v>38574</c:v>
                </c:pt>
                <c:pt idx="201">
                  <c:v>38582</c:v>
                </c:pt>
                <c:pt idx="202">
                  <c:v>38627</c:v>
                </c:pt>
                <c:pt idx="203">
                  <c:v>38674</c:v>
                </c:pt>
                <c:pt idx="204">
                  <c:v>38704</c:v>
                </c:pt>
                <c:pt idx="205">
                  <c:v>38743</c:v>
                </c:pt>
                <c:pt idx="206">
                  <c:v>38765</c:v>
                </c:pt>
                <c:pt idx="207">
                  <c:v>38771</c:v>
                </c:pt>
                <c:pt idx="208">
                  <c:v>38776</c:v>
                </c:pt>
                <c:pt idx="209">
                  <c:v>38816</c:v>
                </c:pt>
                <c:pt idx="210">
                  <c:v>38840</c:v>
                </c:pt>
                <c:pt idx="211">
                  <c:v>38862</c:v>
                </c:pt>
                <c:pt idx="212">
                  <c:v>38883</c:v>
                </c:pt>
                <c:pt idx="213">
                  <c:v>38889</c:v>
                </c:pt>
                <c:pt idx="214">
                  <c:v>38895</c:v>
                </c:pt>
                <c:pt idx="215">
                  <c:v>38899</c:v>
                </c:pt>
                <c:pt idx="216">
                  <c:v>38905</c:v>
                </c:pt>
                <c:pt idx="217">
                  <c:v>38932</c:v>
                </c:pt>
                <c:pt idx="218">
                  <c:v>38966</c:v>
                </c:pt>
                <c:pt idx="219">
                  <c:v>38983</c:v>
                </c:pt>
                <c:pt idx="220">
                  <c:v>38994</c:v>
                </c:pt>
                <c:pt idx="221">
                  <c:v>39000</c:v>
                </c:pt>
                <c:pt idx="222">
                  <c:v>39001</c:v>
                </c:pt>
                <c:pt idx="223">
                  <c:v>39010</c:v>
                </c:pt>
                <c:pt idx="224">
                  <c:v>39018</c:v>
                </c:pt>
                <c:pt idx="225">
                  <c:v>39023</c:v>
                </c:pt>
                <c:pt idx="226">
                  <c:v>39032</c:v>
                </c:pt>
                <c:pt idx="227">
                  <c:v>39039</c:v>
                </c:pt>
                <c:pt idx="228">
                  <c:v>39041</c:v>
                </c:pt>
                <c:pt idx="229">
                  <c:v>39043</c:v>
                </c:pt>
                <c:pt idx="230">
                  <c:v>39058</c:v>
                </c:pt>
                <c:pt idx="231">
                  <c:v>39065</c:v>
                </c:pt>
                <c:pt idx="232">
                  <c:v>39072</c:v>
                </c:pt>
                <c:pt idx="233">
                  <c:v>39085</c:v>
                </c:pt>
                <c:pt idx="234">
                  <c:v>39092</c:v>
                </c:pt>
                <c:pt idx="235">
                  <c:v>39094</c:v>
                </c:pt>
                <c:pt idx="236">
                  <c:v>39094</c:v>
                </c:pt>
                <c:pt idx="237">
                  <c:v>39103</c:v>
                </c:pt>
                <c:pt idx="238">
                  <c:v>39113</c:v>
                </c:pt>
                <c:pt idx="239">
                  <c:v>39116</c:v>
                </c:pt>
                <c:pt idx="240">
                  <c:v>39120</c:v>
                </c:pt>
                <c:pt idx="241">
                  <c:v>39126</c:v>
                </c:pt>
                <c:pt idx="242">
                  <c:v>39126</c:v>
                </c:pt>
                <c:pt idx="243">
                  <c:v>39127</c:v>
                </c:pt>
                <c:pt idx="244">
                  <c:v>39129</c:v>
                </c:pt>
                <c:pt idx="245">
                  <c:v>39131</c:v>
                </c:pt>
                <c:pt idx="246">
                  <c:v>39134</c:v>
                </c:pt>
                <c:pt idx="247">
                  <c:v>39139</c:v>
                </c:pt>
                <c:pt idx="248">
                  <c:v>39142</c:v>
                </c:pt>
                <c:pt idx="249">
                  <c:v>39143</c:v>
                </c:pt>
                <c:pt idx="250">
                  <c:v>39146</c:v>
                </c:pt>
                <c:pt idx="251">
                  <c:v>39152</c:v>
                </c:pt>
                <c:pt idx="252">
                  <c:v>39158</c:v>
                </c:pt>
                <c:pt idx="253">
                  <c:v>39158</c:v>
                </c:pt>
                <c:pt idx="254">
                  <c:v>39162</c:v>
                </c:pt>
                <c:pt idx="255">
                  <c:v>39166</c:v>
                </c:pt>
                <c:pt idx="256">
                  <c:v>39167</c:v>
                </c:pt>
                <c:pt idx="257">
                  <c:v>39167</c:v>
                </c:pt>
                <c:pt idx="258">
                  <c:v>39175</c:v>
                </c:pt>
                <c:pt idx="259">
                  <c:v>39179</c:v>
                </c:pt>
                <c:pt idx="260">
                  <c:v>39183</c:v>
                </c:pt>
                <c:pt idx="261">
                  <c:v>39186</c:v>
                </c:pt>
                <c:pt idx="262">
                  <c:v>39187</c:v>
                </c:pt>
                <c:pt idx="263">
                  <c:v>39187</c:v>
                </c:pt>
                <c:pt idx="264">
                  <c:v>39187</c:v>
                </c:pt>
                <c:pt idx="265">
                  <c:v>39191</c:v>
                </c:pt>
                <c:pt idx="266">
                  <c:v>39192</c:v>
                </c:pt>
                <c:pt idx="267">
                  <c:v>39193</c:v>
                </c:pt>
                <c:pt idx="268">
                  <c:v>39194</c:v>
                </c:pt>
                <c:pt idx="269">
                  <c:v>39194</c:v>
                </c:pt>
                <c:pt idx="270">
                  <c:v>39194</c:v>
                </c:pt>
                <c:pt idx="271">
                  <c:v>39194</c:v>
                </c:pt>
                <c:pt idx="272">
                  <c:v>39194</c:v>
                </c:pt>
                <c:pt idx="273">
                  <c:v>39194</c:v>
                </c:pt>
                <c:pt idx="274">
                  <c:v>39197</c:v>
                </c:pt>
                <c:pt idx="275">
                  <c:v>39199</c:v>
                </c:pt>
                <c:pt idx="276">
                  <c:v>39199</c:v>
                </c:pt>
                <c:pt idx="277">
                  <c:v>39199</c:v>
                </c:pt>
                <c:pt idx="278">
                  <c:v>39199</c:v>
                </c:pt>
                <c:pt idx="279">
                  <c:v>39199</c:v>
                </c:pt>
                <c:pt idx="280">
                  <c:v>39199</c:v>
                </c:pt>
                <c:pt idx="281">
                  <c:v>39199</c:v>
                </c:pt>
                <c:pt idx="282">
                  <c:v>39199</c:v>
                </c:pt>
                <c:pt idx="283">
                  <c:v>39200</c:v>
                </c:pt>
                <c:pt idx="284">
                  <c:v>39200</c:v>
                </c:pt>
                <c:pt idx="285">
                  <c:v>39200</c:v>
                </c:pt>
                <c:pt idx="286">
                  <c:v>39200</c:v>
                </c:pt>
                <c:pt idx="287">
                  <c:v>39200</c:v>
                </c:pt>
                <c:pt idx="288">
                  <c:v>39200</c:v>
                </c:pt>
                <c:pt idx="289">
                  <c:v>39201</c:v>
                </c:pt>
                <c:pt idx="290">
                  <c:v>39201</c:v>
                </c:pt>
                <c:pt idx="291">
                  <c:v>39201</c:v>
                </c:pt>
                <c:pt idx="292">
                  <c:v>39201</c:v>
                </c:pt>
                <c:pt idx="293">
                  <c:v>39201</c:v>
                </c:pt>
                <c:pt idx="294">
                  <c:v>39201</c:v>
                </c:pt>
                <c:pt idx="295">
                  <c:v>39202</c:v>
                </c:pt>
                <c:pt idx="296">
                  <c:v>39203</c:v>
                </c:pt>
                <c:pt idx="297">
                  <c:v>39203</c:v>
                </c:pt>
                <c:pt idx="298">
                  <c:v>39203</c:v>
                </c:pt>
                <c:pt idx="299">
                  <c:v>39203</c:v>
                </c:pt>
                <c:pt idx="300">
                  <c:v>39203</c:v>
                </c:pt>
                <c:pt idx="301">
                  <c:v>39203</c:v>
                </c:pt>
                <c:pt idx="302">
                  <c:v>39204</c:v>
                </c:pt>
                <c:pt idx="303">
                  <c:v>39205</c:v>
                </c:pt>
                <c:pt idx="304">
                  <c:v>39205</c:v>
                </c:pt>
                <c:pt idx="305">
                  <c:v>39205</c:v>
                </c:pt>
                <c:pt idx="306">
                  <c:v>39206</c:v>
                </c:pt>
                <c:pt idx="307">
                  <c:v>39206</c:v>
                </c:pt>
                <c:pt idx="308">
                  <c:v>39206</c:v>
                </c:pt>
                <c:pt idx="309">
                  <c:v>39206</c:v>
                </c:pt>
                <c:pt idx="310">
                  <c:v>39207</c:v>
                </c:pt>
                <c:pt idx="311">
                  <c:v>39207</c:v>
                </c:pt>
                <c:pt idx="312">
                  <c:v>39207</c:v>
                </c:pt>
                <c:pt idx="313">
                  <c:v>39208</c:v>
                </c:pt>
                <c:pt idx="314">
                  <c:v>39208</c:v>
                </c:pt>
                <c:pt idx="315">
                  <c:v>39208</c:v>
                </c:pt>
                <c:pt idx="316">
                  <c:v>39208</c:v>
                </c:pt>
                <c:pt idx="317">
                  <c:v>39208</c:v>
                </c:pt>
                <c:pt idx="318">
                  <c:v>39208</c:v>
                </c:pt>
                <c:pt idx="319">
                  <c:v>39208</c:v>
                </c:pt>
                <c:pt idx="320">
                  <c:v>39208</c:v>
                </c:pt>
                <c:pt idx="321">
                  <c:v>39208</c:v>
                </c:pt>
                <c:pt idx="322">
                  <c:v>39208</c:v>
                </c:pt>
                <c:pt idx="323">
                  <c:v>39209</c:v>
                </c:pt>
                <c:pt idx="324">
                  <c:v>39209</c:v>
                </c:pt>
                <c:pt idx="325">
                  <c:v>39209</c:v>
                </c:pt>
                <c:pt idx="326">
                  <c:v>39210</c:v>
                </c:pt>
                <c:pt idx="327">
                  <c:v>39210</c:v>
                </c:pt>
                <c:pt idx="328">
                  <c:v>39210</c:v>
                </c:pt>
                <c:pt idx="329">
                  <c:v>39211</c:v>
                </c:pt>
                <c:pt idx="330">
                  <c:v>39213</c:v>
                </c:pt>
                <c:pt idx="331">
                  <c:v>39213</c:v>
                </c:pt>
                <c:pt idx="332">
                  <c:v>39213</c:v>
                </c:pt>
                <c:pt idx="333">
                  <c:v>39213</c:v>
                </c:pt>
                <c:pt idx="334">
                  <c:v>39213</c:v>
                </c:pt>
                <c:pt idx="335">
                  <c:v>39213</c:v>
                </c:pt>
                <c:pt idx="336">
                  <c:v>39213</c:v>
                </c:pt>
                <c:pt idx="337">
                  <c:v>39213</c:v>
                </c:pt>
                <c:pt idx="338">
                  <c:v>39213</c:v>
                </c:pt>
                <c:pt idx="339">
                  <c:v>39213</c:v>
                </c:pt>
                <c:pt idx="340">
                  <c:v>39213</c:v>
                </c:pt>
                <c:pt idx="341">
                  <c:v>39214</c:v>
                </c:pt>
                <c:pt idx="342">
                  <c:v>39214</c:v>
                </c:pt>
                <c:pt idx="343">
                  <c:v>39214</c:v>
                </c:pt>
                <c:pt idx="344">
                  <c:v>39215</c:v>
                </c:pt>
                <c:pt idx="345">
                  <c:v>39215</c:v>
                </c:pt>
                <c:pt idx="346">
                  <c:v>39215</c:v>
                </c:pt>
                <c:pt idx="347">
                  <c:v>39215</c:v>
                </c:pt>
                <c:pt idx="348">
                  <c:v>39215</c:v>
                </c:pt>
                <c:pt idx="349">
                  <c:v>39216</c:v>
                </c:pt>
                <c:pt idx="350">
                  <c:v>39217</c:v>
                </c:pt>
                <c:pt idx="351">
                  <c:v>39217</c:v>
                </c:pt>
                <c:pt idx="352">
                  <c:v>39218</c:v>
                </c:pt>
                <c:pt idx="353">
                  <c:v>39218</c:v>
                </c:pt>
                <c:pt idx="354">
                  <c:v>39218</c:v>
                </c:pt>
                <c:pt idx="355">
                  <c:v>39218</c:v>
                </c:pt>
                <c:pt idx="356">
                  <c:v>39221</c:v>
                </c:pt>
                <c:pt idx="357">
                  <c:v>39221</c:v>
                </c:pt>
                <c:pt idx="358">
                  <c:v>39221</c:v>
                </c:pt>
                <c:pt idx="359">
                  <c:v>39222</c:v>
                </c:pt>
                <c:pt idx="360">
                  <c:v>39223</c:v>
                </c:pt>
                <c:pt idx="361">
                  <c:v>39224</c:v>
                </c:pt>
                <c:pt idx="362">
                  <c:v>39224</c:v>
                </c:pt>
                <c:pt idx="363">
                  <c:v>39224</c:v>
                </c:pt>
                <c:pt idx="364">
                  <c:v>39224</c:v>
                </c:pt>
                <c:pt idx="365">
                  <c:v>39228</c:v>
                </c:pt>
                <c:pt idx="366">
                  <c:v>39233</c:v>
                </c:pt>
                <c:pt idx="367">
                  <c:v>39236</c:v>
                </c:pt>
                <c:pt idx="368">
                  <c:v>39237</c:v>
                </c:pt>
                <c:pt idx="369">
                  <c:v>39237</c:v>
                </c:pt>
                <c:pt idx="370">
                  <c:v>39242</c:v>
                </c:pt>
                <c:pt idx="371">
                  <c:v>39244</c:v>
                </c:pt>
                <c:pt idx="372">
                  <c:v>39245</c:v>
                </c:pt>
                <c:pt idx="373">
                  <c:v>39247</c:v>
                </c:pt>
                <c:pt idx="374">
                  <c:v>39247</c:v>
                </c:pt>
                <c:pt idx="375">
                  <c:v>39247</c:v>
                </c:pt>
                <c:pt idx="376">
                  <c:v>39248</c:v>
                </c:pt>
                <c:pt idx="377">
                  <c:v>39249</c:v>
                </c:pt>
                <c:pt idx="378">
                  <c:v>39250</c:v>
                </c:pt>
                <c:pt idx="379">
                  <c:v>39250</c:v>
                </c:pt>
                <c:pt idx="380">
                  <c:v>39250</c:v>
                </c:pt>
                <c:pt idx="381">
                  <c:v>39250</c:v>
                </c:pt>
                <c:pt idx="382">
                  <c:v>39251</c:v>
                </c:pt>
                <c:pt idx="383">
                  <c:v>39251</c:v>
                </c:pt>
                <c:pt idx="384">
                  <c:v>39256</c:v>
                </c:pt>
                <c:pt idx="385">
                  <c:v>39264</c:v>
                </c:pt>
                <c:pt idx="386">
                  <c:v>39267</c:v>
                </c:pt>
                <c:pt idx="387">
                  <c:v>39267</c:v>
                </c:pt>
                <c:pt idx="388">
                  <c:v>39267</c:v>
                </c:pt>
                <c:pt idx="389">
                  <c:v>39268</c:v>
                </c:pt>
                <c:pt idx="390">
                  <c:v>39269</c:v>
                </c:pt>
                <c:pt idx="391">
                  <c:v>39276</c:v>
                </c:pt>
                <c:pt idx="392">
                  <c:v>39278</c:v>
                </c:pt>
                <c:pt idx="393">
                  <c:v>39286</c:v>
                </c:pt>
                <c:pt idx="394">
                  <c:v>39289</c:v>
                </c:pt>
                <c:pt idx="395">
                  <c:v>39292</c:v>
                </c:pt>
                <c:pt idx="396">
                  <c:v>39293</c:v>
                </c:pt>
                <c:pt idx="397">
                  <c:v>39294</c:v>
                </c:pt>
                <c:pt idx="398">
                  <c:v>39299</c:v>
                </c:pt>
                <c:pt idx="399">
                  <c:v>39306</c:v>
                </c:pt>
                <c:pt idx="400">
                  <c:v>39319</c:v>
                </c:pt>
                <c:pt idx="401">
                  <c:v>39322</c:v>
                </c:pt>
                <c:pt idx="402">
                  <c:v>39349</c:v>
                </c:pt>
                <c:pt idx="403">
                  <c:v>39351</c:v>
                </c:pt>
                <c:pt idx="404">
                  <c:v>39351</c:v>
                </c:pt>
                <c:pt idx="405">
                  <c:v>39354</c:v>
                </c:pt>
                <c:pt idx="406">
                  <c:v>39357</c:v>
                </c:pt>
                <c:pt idx="407">
                  <c:v>39378</c:v>
                </c:pt>
                <c:pt idx="408">
                  <c:v>39384</c:v>
                </c:pt>
                <c:pt idx="409">
                  <c:v>39392</c:v>
                </c:pt>
                <c:pt idx="410">
                  <c:v>39394</c:v>
                </c:pt>
                <c:pt idx="411">
                  <c:v>39395</c:v>
                </c:pt>
                <c:pt idx="412">
                  <c:v>39413</c:v>
                </c:pt>
                <c:pt idx="413">
                  <c:v>39425</c:v>
                </c:pt>
                <c:pt idx="414">
                  <c:v>39438</c:v>
                </c:pt>
                <c:pt idx="415">
                  <c:v>39447</c:v>
                </c:pt>
                <c:pt idx="416">
                  <c:v>39462</c:v>
                </c:pt>
                <c:pt idx="417">
                  <c:v>39463</c:v>
                </c:pt>
                <c:pt idx="418">
                  <c:v>39467</c:v>
                </c:pt>
                <c:pt idx="419">
                  <c:v>39500</c:v>
                </c:pt>
                <c:pt idx="420">
                  <c:v>39514</c:v>
                </c:pt>
                <c:pt idx="421">
                  <c:v>39542</c:v>
                </c:pt>
                <c:pt idx="422">
                  <c:v>39545</c:v>
                </c:pt>
                <c:pt idx="423">
                  <c:v>39571</c:v>
                </c:pt>
                <c:pt idx="424">
                  <c:v>39583</c:v>
                </c:pt>
                <c:pt idx="425">
                  <c:v>39598</c:v>
                </c:pt>
                <c:pt idx="426">
                  <c:v>39674</c:v>
                </c:pt>
                <c:pt idx="427">
                  <c:v>39712</c:v>
                </c:pt>
                <c:pt idx="428">
                  <c:v>39747</c:v>
                </c:pt>
                <c:pt idx="429">
                  <c:v>39823</c:v>
                </c:pt>
                <c:pt idx="430">
                  <c:v>39873</c:v>
                </c:pt>
                <c:pt idx="431">
                  <c:v>39892</c:v>
                </c:pt>
                <c:pt idx="432">
                  <c:v>39902</c:v>
                </c:pt>
                <c:pt idx="433">
                  <c:v>39981</c:v>
                </c:pt>
                <c:pt idx="434">
                  <c:v>40035</c:v>
                </c:pt>
                <c:pt idx="435">
                  <c:v>40079</c:v>
                </c:pt>
                <c:pt idx="436">
                  <c:v>40133</c:v>
                </c:pt>
                <c:pt idx="437">
                  <c:v>40184</c:v>
                </c:pt>
                <c:pt idx="438">
                  <c:v>40217</c:v>
                </c:pt>
                <c:pt idx="439">
                  <c:v>40245</c:v>
                </c:pt>
                <c:pt idx="440">
                  <c:v>40343</c:v>
                </c:pt>
                <c:pt idx="441">
                  <c:v>40408</c:v>
                </c:pt>
                <c:pt idx="442">
                  <c:v>40444</c:v>
                </c:pt>
                <c:pt idx="443">
                  <c:v>40541</c:v>
                </c:pt>
                <c:pt idx="444">
                  <c:v>40677</c:v>
                </c:pt>
                <c:pt idx="445">
                  <c:v>40714</c:v>
                </c:pt>
                <c:pt idx="446">
                  <c:v>40730</c:v>
                </c:pt>
                <c:pt idx="447">
                  <c:v>40846</c:v>
                </c:pt>
                <c:pt idx="448">
                  <c:v>40913</c:v>
                </c:pt>
                <c:pt idx="449">
                  <c:v>40999</c:v>
                </c:pt>
                <c:pt idx="450">
                  <c:v>41076</c:v>
                </c:pt>
                <c:pt idx="451">
                  <c:v>41176</c:v>
                </c:pt>
                <c:pt idx="452">
                  <c:v>41203</c:v>
                </c:pt>
                <c:pt idx="453">
                  <c:v>41218</c:v>
                </c:pt>
                <c:pt idx="454">
                  <c:v>41303</c:v>
                </c:pt>
                <c:pt idx="455">
                  <c:v>41365</c:v>
                </c:pt>
                <c:pt idx="456">
                  <c:v>41435</c:v>
                </c:pt>
                <c:pt idx="457">
                  <c:v>41498</c:v>
                </c:pt>
                <c:pt idx="458">
                  <c:v>41538</c:v>
                </c:pt>
                <c:pt idx="459">
                  <c:v>41597</c:v>
                </c:pt>
                <c:pt idx="460">
                  <c:v>41612</c:v>
                </c:pt>
                <c:pt idx="461">
                  <c:v>41689</c:v>
                </c:pt>
                <c:pt idx="462">
                  <c:v>41746</c:v>
                </c:pt>
                <c:pt idx="463">
                  <c:v>41797</c:v>
                </c:pt>
                <c:pt idx="464">
                  <c:v>41853</c:v>
                </c:pt>
                <c:pt idx="465">
                  <c:v>41899</c:v>
                </c:pt>
                <c:pt idx="466">
                  <c:v>41918</c:v>
                </c:pt>
                <c:pt idx="467">
                  <c:v>41925</c:v>
                </c:pt>
                <c:pt idx="468">
                  <c:v>41971</c:v>
                </c:pt>
                <c:pt idx="469">
                  <c:v>42034</c:v>
                </c:pt>
                <c:pt idx="470">
                  <c:v>42077</c:v>
                </c:pt>
                <c:pt idx="471">
                  <c:v>42101</c:v>
                </c:pt>
                <c:pt idx="472">
                  <c:v>42126</c:v>
                </c:pt>
                <c:pt idx="473">
                  <c:v>42136</c:v>
                </c:pt>
                <c:pt idx="474">
                  <c:v>42149</c:v>
                </c:pt>
                <c:pt idx="475">
                  <c:v>42187</c:v>
                </c:pt>
                <c:pt idx="476">
                  <c:v>42206</c:v>
                </c:pt>
                <c:pt idx="477">
                  <c:v>42215</c:v>
                </c:pt>
                <c:pt idx="478">
                  <c:v>42230</c:v>
                </c:pt>
                <c:pt idx="479">
                  <c:v>42236</c:v>
                </c:pt>
                <c:pt idx="480">
                  <c:v>42240</c:v>
                </c:pt>
                <c:pt idx="481">
                  <c:v>42245</c:v>
                </c:pt>
                <c:pt idx="482">
                  <c:v>42261</c:v>
                </c:pt>
                <c:pt idx="483">
                  <c:v>42291</c:v>
                </c:pt>
                <c:pt idx="484">
                  <c:v>42306</c:v>
                </c:pt>
                <c:pt idx="485">
                  <c:v>42327</c:v>
                </c:pt>
                <c:pt idx="486">
                  <c:v>42344</c:v>
                </c:pt>
                <c:pt idx="487">
                  <c:v>42345</c:v>
                </c:pt>
                <c:pt idx="488">
                  <c:v>42346</c:v>
                </c:pt>
                <c:pt idx="489">
                  <c:v>42363</c:v>
                </c:pt>
                <c:pt idx="490">
                  <c:v>42386</c:v>
                </c:pt>
                <c:pt idx="491">
                  <c:v>42399</c:v>
                </c:pt>
                <c:pt idx="492">
                  <c:v>42411</c:v>
                </c:pt>
                <c:pt idx="493">
                  <c:v>42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95</c:f>
              <c:numCache>
                <c:formatCode>m/d/yyyy</c:formatCode>
                <c:ptCount val="49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</c:numCache>
            </c:numRef>
          </c:cat>
          <c:val>
            <c:numRef>
              <c:f>List1!$B$2:$B$495</c:f>
              <c:numCache>
                <c:formatCode>General</c:formatCode>
                <c:ptCount val="494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9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2</c:v>
                </c:pt>
                <c:pt idx="32">
                  <c:v>157</c:v>
                </c:pt>
                <c:pt idx="33">
                  <c:v>209</c:v>
                </c:pt>
                <c:pt idx="34">
                  <c:v>366</c:v>
                </c:pt>
                <c:pt idx="35">
                  <c:v>437</c:v>
                </c:pt>
                <c:pt idx="36">
                  <c:v>475</c:v>
                </c:pt>
                <c:pt idx="37">
                  <c:v>543</c:v>
                </c:pt>
                <c:pt idx="38">
                  <c:v>675</c:v>
                </c:pt>
                <c:pt idx="39">
                  <c:v>695</c:v>
                </c:pt>
                <c:pt idx="40">
                  <c:v>662</c:v>
                </c:pt>
                <c:pt idx="41">
                  <c:v>775</c:v>
                </c:pt>
                <c:pt idx="42">
                  <c:v>946</c:v>
                </c:pt>
                <c:pt idx="43">
                  <c:v>1076</c:v>
                </c:pt>
                <c:pt idx="44">
                  <c:v>1246</c:v>
                </c:pt>
                <c:pt idx="45">
                  <c:v>1374</c:v>
                </c:pt>
                <c:pt idx="46">
                  <c:v>1450</c:v>
                </c:pt>
                <c:pt idx="47">
                  <c:v>1404</c:v>
                </c:pt>
                <c:pt idx="48">
                  <c:v>1574</c:v>
                </c:pt>
                <c:pt idx="49">
                  <c:v>1686</c:v>
                </c:pt>
                <c:pt idx="50">
                  <c:v>1964</c:v>
                </c:pt>
                <c:pt idx="51">
                  <c:v>2121</c:v>
                </c:pt>
                <c:pt idx="52">
                  <c:v>2407</c:v>
                </c:pt>
                <c:pt idx="53">
                  <c:v>2489</c:v>
                </c:pt>
                <c:pt idx="54">
                  <c:v>2532</c:v>
                </c:pt>
                <c:pt idx="55">
                  <c:v>2713</c:v>
                </c:pt>
                <c:pt idx="56">
                  <c:v>3043</c:v>
                </c:pt>
                <c:pt idx="57">
                  <c:v>3069</c:v>
                </c:pt>
                <c:pt idx="58">
                  <c:v>3508</c:v>
                </c:pt>
                <c:pt idx="59">
                  <c:v>3805</c:v>
                </c:pt>
                <c:pt idx="60">
                  <c:v>3893</c:v>
                </c:pt>
                <c:pt idx="61">
                  <c:v>3787</c:v>
                </c:pt>
                <c:pt idx="62">
                  <c:v>3850</c:v>
                </c:pt>
                <c:pt idx="63">
                  <c:v>3777</c:v>
                </c:pt>
                <c:pt idx="64">
                  <c:v>3988</c:v>
                </c:pt>
                <c:pt idx="65">
                  <c:v>4319</c:v>
                </c:pt>
                <c:pt idx="66">
                  <c:v>4176</c:v>
                </c:pt>
                <c:pt idx="67">
                  <c:v>3828</c:v>
                </c:pt>
                <c:pt idx="68">
                  <c:v>3747</c:v>
                </c:pt>
                <c:pt idx="69">
                  <c:v>3502</c:v>
                </c:pt>
                <c:pt idx="70">
                  <c:v>3382</c:v>
                </c:pt>
                <c:pt idx="71">
                  <c:v>3801</c:v>
                </c:pt>
                <c:pt idx="72">
                  <c:v>4181</c:v>
                </c:pt>
                <c:pt idx="73">
                  <c:v>4230</c:v>
                </c:pt>
                <c:pt idx="74">
                  <c:v>3889</c:v>
                </c:pt>
                <c:pt idx="75">
                  <c:v>3776</c:v>
                </c:pt>
                <c:pt idx="76">
                  <c:v>3788</c:v>
                </c:pt>
                <c:pt idx="77">
                  <c:v>3574</c:v>
                </c:pt>
                <c:pt idx="78">
                  <c:v>3762</c:v>
                </c:pt>
                <c:pt idx="79">
                  <c:v>3912</c:v>
                </c:pt>
                <c:pt idx="80">
                  <c:v>3969</c:v>
                </c:pt>
                <c:pt idx="81">
                  <c:v>3588</c:v>
                </c:pt>
                <c:pt idx="82">
                  <c:v>3313</c:v>
                </c:pt>
                <c:pt idx="83">
                  <c:v>3437</c:v>
                </c:pt>
                <c:pt idx="84">
                  <c:v>3152</c:v>
                </c:pt>
                <c:pt idx="85">
                  <c:v>3145</c:v>
                </c:pt>
                <c:pt idx="86">
                  <c:v>3238</c:v>
                </c:pt>
                <c:pt idx="87">
                  <c:v>3002</c:v>
                </c:pt>
                <c:pt idx="88">
                  <c:v>2970</c:v>
                </c:pt>
                <c:pt idx="89">
                  <c:v>2712</c:v>
                </c:pt>
                <c:pt idx="90">
                  <c:v>2614</c:v>
                </c:pt>
                <c:pt idx="91">
                  <c:v>2428</c:v>
                </c:pt>
                <c:pt idx="92">
                  <c:v>2460</c:v>
                </c:pt>
                <c:pt idx="93">
                  <c:v>2517</c:v>
                </c:pt>
                <c:pt idx="94">
                  <c:v>2407</c:v>
                </c:pt>
                <c:pt idx="95">
                  <c:v>2241</c:v>
                </c:pt>
                <c:pt idx="96">
                  <c:v>2088</c:v>
                </c:pt>
                <c:pt idx="97">
                  <c:v>2040</c:v>
                </c:pt>
                <c:pt idx="98">
                  <c:v>1895</c:v>
                </c:pt>
                <c:pt idx="99">
                  <c:v>1950</c:v>
                </c:pt>
                <c:pt idx="100">
                  <c:v>2000</c:v>
                </c:pt>
                <c:pt idx="101">
                  <c:v>1988</c:v>
                </c:pt>
                <c:pt idx="102">
                  <c:v>1895</c:v>
                </c:pt>
                <c:pt idx="103">
                  <c:v>1848</c:v>
                </c:pt>
                <c:pt idx="104">
                  <c:v>1858</c:v>
                </c:pt>
                <c:pt idx="105">
                  <c:v>1838</c:v>
                </c:pt>
                <c:pt idx="106">
                  <c:v>1839</c:v>
                </c:pt>
                <c:pt idx="107">
                  <c:v>1843</c:v>
                </c:pt>
                <c:pt idx="108">
                  <c:v>1893</c:v>
                </c:pt>
                <c:pt idx="109">
                  <c:v>1764</c:v>
                </c:pt>
                <c:pt idx="110">
                  <c:v>1697</c:v>
                </c:pt>
                <c:pt idx="111">
                  <c:v>1746</c:v>
                </c:pt>
                <c:pt idx="112">
                  <c:v>1759</c:v>
                </c:pt>
                <c:pt idx="113">
                  <c:v>1782</c:v>
                </c:pt>
                <c:pt idx="114">
                  <c:v>1748</c:v>
                </c:pt>
                <c:pt idx="115">
                  <c:v>1647</c:v>
                </c:pt>
                <c:pt idx="116">
                  <c:v>1622</c:v>
                </c:pt>
                <c:pt idx="117">
                  <c:v>1622</c:v>
                </c:pt>
                <c:pt idx="118">
                  <c:v>1667</c:v>
                </c:pt>
                <c:pt idx="119">
                  <c:v>1714</c:v>
                </c:pt>
                <c:pt idx="120">
                  <c:v>1812</c:v>
                </c:pt>
                <c:pt idx="121">
                  <c:v>1894</c:v>
                </c:pt>
                <c:pt idx="122">
                  <c:v>1760</c:v>
                </c:pt>
                <c:pt idx="123">
                  <c:v>1726</c:v>
                </c:pt>
                <c:pt idx="124">
                  <c:v>1561</c:v>
                </c:pt>
                <c:pt idx="125">
                  <c:v>1792</c:v>
                </c:pt>
                <c:pt idx="126">
                  <c:v>1880</c:v>
                </c:pt>
                <c:pt idx="127">
                  <c:v>1968</c:v>
                </c:pt>
                <c:pt idx="128">
                  <c:v>2110</c:v>
                </c:pt>
                <c:pt idx="129">
                  <c:v>2112</c:v>
                </c:pt>
                <c:pt idx="130">
                  <c:v>1979</c:v>
                </c:pt>
                <c:pt idx="131">
                  <c:v>1833</c:v>
                </c:pt>
                <c:pt idx="132">
                  <c:v>1974</c:v>
                </c:pt>
                <c:pt idx="133">
                  <c:v>2038</c:v>
                </c:pt>
                <c:pt idx="134">
                  <c:v>2142</c:v>
                </c:pt>
                <c:pt idx="135">
                  <c:v>2189</c:v>
                </c:pt>
                <c:pt idx="136">
                  <c:v>2105</c:v>
                </c:pt>
                <c:pt idx="137">
                  <c:v>1910</c:v>
                </c:pt>
                <c:pt idx="138">
                  <c:v>1754</c:v>
                </c:pt>
                <c:pt idx="139">
                  <c:v>1694</c:v>
                </c:pt>
                <c:pt idx="140">
                  <c:v>1581</c:v>
                </c:pt>
                <c:pt idx="141">
                  <c:v>1666</c:v>
                </c:pt>
                <c:pt idx="142">
                  <c:v>1736</c:v>
                </c:pt>
                <c:pt idx="143">
                  <c:v>1606</c:v>
                </c:pt>
                <c:pt idx="144">
                  <c:v>1540</c:v>
                </c:pt>
                <c:pt idx="145">
                  <c:v>1440</c:v>
                </c:pt>
                <c:pt idx="146">
                  <c:v>1400</c:v>
                </c:pt>
                <c:pt idx="147">
                  <c:v>1346</c:v>
                </c:pt>
                <c:pt idx="148">
                  <c:v>1398</c:v>
                </c:pt>
                <c:pt idx="149">
                  <c:v>1435</c:v>
                </c:pt>
                <c:pt idx="150">
                  <c:v>1293</c:v>
                </c:pt>
                <c:pt idx="151">
                  <c:v>1251</c:v>
                </c:pt>
                <c:pt idx="152">
                  <c:v>1114</c:v>
                </c:pt>
                <c:pt idx="153">
                  <c:v>1142</c:v>
                </c:pt>
                <c:pt idx="154">
                  <c:v>1164</c:v>
                </c:pt>
                <c:pt idx="155">
                  <c:v>1219</c:v>
                </c:pt>
                <c:pt idx="156">
                  <c:v>1247</c:v>
                </c:pt>
                <c:pt idx="157">
                  <c:v>1219</c:v>
                </c:pt>
                <c:pt idx="158">
                  <c:v>1157</c:v>
                </c:pt>
                <c:pt idx="159">
                  <c:v>1103</c:v>
                </c:pt>
                <c:pt idx="160">
                  <c:v>1118</c:v>
                </c:pt>
                <c:pt idx="161">
                  <c:v>1112</c:v>
                </c:pt>
                <c:pt idx="162">
                  <c:v>1151</c:v>
                </c:pt>
                <c:pt idx="163">
                  <c:v>1197</c:v>
                </c:pt>
                <c:pt idx="164">
                  <c:v>1162</c:v>
                </c:pt>
                <c:pt idx="165">
                  <c:v>1041</c:v>
                </c:pt>
                <c:pt idx="166">
                  <c:v>949</c:v>
                </c:pt>
                <c:pt idx="167">
                  <c:v>928</c:v>
                </c:pt>
                <c:pt idx="168">
                  <c:v>843</c:v>
                </c:pt>
                <c:pt idx="169">
                  <c:v>822</c:v>
                </c:pt>
                <c:pt idx="170">
                  <c:v>836</c:v>
                </c:pt>
                <c:pt idx="171">
                  <c:v>777</c:v>
                </c:pt>
                <c:pt idx="172">
                  <c:v>716</c:v>
                </c:pt>
                <c:pt idx="173">
                  <c:v>644</c:v>
                </c:pt>
                <c:pt idx="174">
                  <c:v>687</c:v>
                </c:pt>
                <c:pt idx="175">
                  <c:v>662</c:v>
                </c:pt>
                <c:pt idx="176">
                  <c:v>672</c:v>
                </c:pt>
                <c:pt idx="177">
                  <c:v>702</c:v>
                </c:pt>
                <c:pt idx="178">
                  <c:v>690</c:v>
                </c:pt>
                <c:pt idx="179">
                  <c:v>658</c:v>
                </c:pt>
                <c:pt idx="180">
                  <c:v>639</c:v>
                </c:pt>
                <c:pt idx="181">
                  <c:v>687</c:v>
                </c:pt>
                <c:pt idx="182">
                  <c:v>653</c:v>
                </c:pt>
                <c:pt idx="183">
                  <c:v>660</c:v>
                </c:pt>
                <c:pt idx="184">
                  <c:v>652</c:v>
                </c:pt>
                <c:pt idx="185">
                  <c:v>586</c:v>
                </c:pt>
                <c:pt idx="186">
                  <c:v>557</c:v>
                </c:pt>
                <c:pt idx="187">
                  <c:v>513</c:v>
                </c:pt>
                <c:pt idx="188">
                  <c:v>508</c:v>
                </c:pt>
                <c:pt idx="189">
                  <c:v>531</c:v>
                </c:pt>
                <c:pt idx="190">
                  <c:v>572</c:v>
                </c:pt>
                <c:pt idx="191">
                  <c:v>571</c:v>
                </c:pt>
                <c:pt idx="192">
                  <c:v>592</c:v>
                </c:pt>
                <c:pt idx="193">
                  <c:v>589</c:v>
                </c:pt>
                <c:pt idx="194">
                  <c:v>589</c:v>
                </c:pt>
                <c:pt idx="195">
                  <c:v>613</c:v>
                </c:pt>
                <c:pt idx="196">
                  <c:v>549</c:v>
                </c:pt>
                <c:pt idx="197">
                  <c:v>528</c:v>
                </c:pt>
                <c:pt idx="198">
                  <c:v>515</c:v>
                </c:pt>
                <c:pt idx="199">
                  <c:v>515</c:v>
                </c:pt>
                <c:pt idx="200">
                  <c:v>495</c:v>
                </c:pt>
                <c:pt idx="201">
                  <c:v>494</c:v>
                </c:pt>
                <c:pt idx="202">
                  <c:v>499</c:v>
                </c:pt>
                <c:pt idx="203">
                  <c:v>500</c:v>
                </c:pt>
                <c:pt idx="204">
                  <c:v>466</c:v>
                </c:pt>
                <c:pt idx="205">
                  <c:v>462</c:v>
                </c:pt>
                <c:pt idx="206">
                  <c:v>444</c:v>
                </c:pt>
                <c:pt idx="207">
                  <c:v>410</c:v>
                </c:pt>
                <c:pt idx="208">
                  <c:v>409</c:v>
                </c:pt>
                <c:pt idx="209">
                  <c:v>421</c:v>
                </c:pt>
                <c:pt idx="210">
                  <c:v>389</c:v>
                </c:pt>
                <c:pt idx="211">
                  <c:v>380</c:v>
                </c:pt>
                <c:pt idx="212">
                  <c:v>365</c:v>
                </c:pt>
                <c:pt idx="213">
                  <c:v>336</c:v>
                </c:pt>
                <c:pt idx="214">
                  <c:v>326</c:v>
                </c:pt>
                <c:pt idx="215">
                  <c:v>325</c:v>
                </c:pt>
                <c:pt idx="216">
                  <c:v>323</c:v>
                </c:pt>
                <c:pt idx="217">
                  <c:v>293</c:v>
                </c:pt>
                <c:pt idx="218">
                  <c:v>290</c:v>
                </c:pt>
                <c:pt idx="219">
                  <c:v>275</c:v>
                </c:pt>
                <c:pt idx="220">
                  <c:v>246</c:v>
                </c:pt>
                <c:pt idx="221">
                  <c:v>241</c:v>
                </c:pt>
                <c:pt idx="222">
                  <c:v>240</c:v>
                </c:pt>
                <c:pt idx="223">
                  <c:v>240</c:v>
                </c:pt>
                <c:pt idx="224">
                  <c:v>229</c:v>
                </c:pt>
                <c:pt idx="225">
                  <c:v>207</c:v>
                </c:pt>
                <c:pt idx="226">
                  <c:v>197</c:v>
                </c:pt>
                <c:pt idx="227">
                  <c:v>183</c:v>
                </c:pt>
                <c:pt idx="228">
                  <c:v>181</c:v>
                </c:pt>
                <c:pt idx="229">
                  <c:v>182</c:v>
                </c:pt>
                <c:pt idx="230">
                  <c:v>186</c:v>
                </c:pt>
                <c:pt idx="231">
                  <c:v>180</c:v>
                </c:pt>
                <c:pt idx="232">
                  <c:v>173</c:v>
                </c:pt>
                <c:pt idx="233">
                  <c:v>172</c:v>
                </c:pt>
                <c:pt idx="234">
                  <c:v>174</c:v>
                </c:pt>
                <c:pt idx="235">
                  <c:v>168</c:v>
                </c:pt>
                <c:pt idx="236">
                  <c:v>167</c:v>
                </c:pt>
                <c:pt idx="237">
                  <c:v>167</c:v>
                </c:pt>
                <c:pt idx="238">
                  <c:v>166</c:v>
                </c:pt>
                <c:pt idx="239">
                  <c:v>165</c:v>
                </c:pt>
                <c:pt idx="240">
                  <c:v>164</c:v>
                </c:pt>
                <c:pt idx="241">
                  <c:v>164</c:v>
                </c:pt>
                <c:pt idx="242">
                  <c:v>158</c:v>
                </c:pt>
                <c:pt idx="243">
                  <c:v>158</c:v>
                </c:pt>
                <c:pt idx="244">
                  <c:v>158</c:v>
                </c:pt>
                <c:pt idx="245">
                  <c:v>155</c:v>
                </c:pt>
                <c:pt idx="246">
                  <c:v>151</c:v>
                </c:pt>
                <c:pt idx="247">
                  <c:v>145</c:v>
                </c:pt>
                <c:pt idx="248">
                  <c:v>144</c:v>
                </c:pt>
                <c:pt idx="249">
                  <c:v>138</c:v>
                </c:pt>
                <c:pt idx="250">
                  <c:v>141</c:v>
                </c:pt>
                <c:pt idx="251">
                  <c:v>145</c:v>
                </c:pt>
                <c:pt idx="252">
                  <c:v>145</c:v>
                </c:pt>
                <c:pt idx="253">
                  <c:v>142</c:v>
                </c:pt>
                <c:pt idx="254">
                  <c:v>141</c:v>
                </c:pt>
                <c:pt idx="255">
                  <c:v>140</c:v>
                </c:pt>
                <c:pt idx="256">
                  <c:v>138</c:v>
                </c:pt>
                <c:pt idx="257">
                  <c:v>137</c:v>
                </c:pt>
                <c:pt idx="258">
                  <c:v>139</c:v>
                </c:pt>
                <c:pt idx="259">
                  <c:v>135</c:v>
                </c:pt>
                <c:pt idx="260">
                  <c:v>137</c:v>
                </c:pt>
                <c:pt idx="261">
                  <c:v>134</c:v>
                </c:pt>
                <c:pt idx="262">
                  <c:v>134</c:v>
                </c:pt>
                <c:pt idx="263">
                  <c:v>133</c:v>
                </c:pt>
                <c:pt idx="264">
                  <c:v>132</c:v>
                </c:pt>
                <c:pt idx="265">
                  <c:v>133</c:v>
                </c:pt>
                <c:pt idx="266">
                  <c:v>132</c:v>
                </c:pt>
                <c:pt idx="267">
                  <c:v>131</c:v>
                </c:pt>
                <c:pt idx="268">
                  <c:v>129</c:v>
                </c:pt>
                <c:pt idx="269">
                  <c:v>128</c:v>
                </c:pt>
                <c:pt idx="270">
                  <c:v>128</c:v>
                </c:pt>
                <c:pt idx="271">
                  <c:v>125</c:v>
                </c:pt>
                <c:pt idx="272">
                  <c:v>124</c:v>
                </c:pt>
                <c:pt idx="273">
                  <c:v>123</c:v>
                </c:pt>
                <c:pt idx="274">
                  <c:v>126</c:v>
                </c:pt>
                <c:pt idx="275">
                  <c:v>122</c:v>
                </c:pt>
                <c:pt idx="276">
                  <c:v>118</c:v>
                </c:pt>
                <c:pt idx="277">
                  <c:v>117</c:v>
                </c:pt>
                <c:pt idx="278">
                  <c:v>117</c:v>
                </c:pt>
                <c:pt idx="279">
                  <c:v>117</c:v>
                </c:pt>
                <c:pt idx="280">
                  <c:v>117</c:v>
                </c:pt>
                <c:pt idx="281">
                  <c:v>116</c:v>
                </c:pt>
                <c:pt idx="282">
                  <c:v>115</c:v>
                </c:pt>
                <c:pt idx="283">
                  <c:v>116</c:v>
                </c:pt>
                <c:pt idx="284">
                  <c:v>113</c:v>
                </c:pt>
                <c:pt idx="285">
                  <c:v>113</c:v>
                </c:pt>
                <c:pt idx="286">
                  <c:v>113</c:v>
                </c:pt>
                <c:pt idx="287">
                  <c:v>113</c:v>
                </c:pt>
                <c:pt idx="288">
                  <c:v>113</c:v>
                </c:pt>
                <c:pt idx="289">
                  <c:v>113</c:v>
                </c:pt>
                <c:pt idx="290">
                  <c:v>113</c:v>
                </c:pt>
                <c:pt idx="291">
                  <c:v>113</c:v>
                </c:pt>
                <c:pt idx="292">
                  <c:v>113</c:v>
                </c:pt>
                <c:pt idx="293">
                  <c:v>113</c:v>
                </c:pt>
                <c:pt idx="294">
                  <c:v>113</c:v>
                </c:pt>
                <c:pt idx="295">
                  <c:v>114</c:v>
                </c:pt>
                <c:pt idx="296">
                  <c:v>114</c:v>
                </c:pt>
                <c:pt idx="297">
                  <c:v>113</c:v>
                </c:pt>
                <c:pt idx="298">
                  <c:v>113</c:v>
                </c:pt>
                <c:pt idx="299">
                  <c:v>113</c:v>
                </c:pt>
                <c:pt idx="300">
                  <c:v>113</c:v>
                </c:pt>
                <c:pt idx="301">
                  <c:v>113</c:v>
                </c:pt>
                <c:pt idx="302">
                  <c:v>112</c:v>
                </c:pt>
                <c:pt idx="303">
                  <c:v>113</c:v>
                </c:pt>
                <c:pt idx="304">
                  <c:v>111</c:v>
                </c:pt>
                <c:pt idx="305">
                  <c:v>111</c:v>
                </c:pt>
                <c:pt idx="306">
                  <c:v>112</c:v>
                </c:pt>
                <c:pt idx="307">
                  <c:v>112</c:v>
                </c:pt>
                <c:pt idx="308">
                  <c:v>112</c:v>
                </c:pt>
                <c:pt idx="309">
                  <c:v>112</c:v>
                </c:pt>
                <c:pt idx="310">
                  <c:v>111</c:v>
                </c:pt>
                <c:pt idx="311">
                  <c:v>111</c:v>
                </c:pt>
                <c:pt idx="312">
                  <c:v>111</c:v>
                </c:pt>
                <c:pt idx="313">
                  <c:v>111</c:v>
                </c:pt>
                <c:pt idx="314">
                  <c:v>111</c:v>
                </c:pt>
                <c:pt idx="315">
                  <c:v>111</c:v>
                </c:pt>
                <c:pt idx="316">
                  <c:v>111</c:v>
                </c:pt>
                <c:pt idx="317">
                  <c:v>111</c:v>
                </c:pt>
                <c:pt idx="318">
                  <c:v>111</c:v>
                </c:pt>
                <c:pt idx="319">
                  <c:v>111</c:v>
                </c:pt>
                <c:pt idx="320">
                  <c:v>111</c:v>
                </c:pt>
                <c:pt idx="321">
                  <c:v>111</c:v>
                </c:pt>
                <c:pt idx="322">
                  <c:v>110</c:v>
                </c:pt>
                <c:pt idx="323">
                  <c:v>110</c:v>
                </c:pt>
                <c:pt idx="324">
                  <c:v>110</c:v>
                </c:pt>
                <c:pt idx="325">
                  <c:v>110</c:v>
                </c:pt>
                <c:pt idx="326">
                  <c:v>111</c:v>
                </c:pt>
                <c:pt idx="327">
                  <c:v>110</c:v>
                </c:pt>
                <c:pt idx="328">
                  <c:v>110</c:v>
                </c:pt>
                <c:pt idx="329">
                  <c:v>110</c:v>
                </c:pt>
                <c:pt idx="330">
                  <c:v>110</c:v>
                </c:pt>
                <c:pt idx="331">
                  <c:v>110</c:v>
                </c:pt>
                <c:pt idx="332">
                  <c:v>109</c:v>
                </c:pt>
                <c:pt idx="333">
                  <c:v>109</c:v>
                </c:pt>
                <c:pt idx="334">
                  <c:v>109</c:v>
                </c:pt>
                <c:pt idx="335">
                  <c:v>109</c:v>
                </c:pt>
                <c:pt idx="336">
                  <c:v>108</c:v>
                </c:pt>
                <c:pt idx="337">
                  <c:v>108</c:v>
                </c:pt>
                <c:pt idx="338">
                  <c:v>108</c:v>
                </c:pt>
                <c:pt idx="339">
                  <c:v>108</c:v>
                </c:pt>
                <c:pt idx="340">
                  <c:v>108</c:v>
                </c:pt>
                <c:pt idx="341">
                  <c:v>108</c:v>
                </c:pt>
                <c:pt idx="342">
                  <c:v>108</c:v>
                </c:pt>
                <c:pt idx="343">
                  <c:v>108</c:v>
                </c:pt>
                <c:pt idx="344">
                  <c:v>108</c:v>
                </c:pt>
                <c:pt idx="345">
                  <c:v>108</c:v>
                </c:pt>
                <c:pt idx="346">
                  <c:v>108</c:v>
                </c:pt>
                <c:pt idx="347">
                  <c:v>108</c:v>
                </c:pt>
                <c:pt idx="348">
                  <c:v>108</c:v>
                </c:pt>
                <c:pt idx="349">
                  <c:v>109</c:v>
                </c:pt>
                <c:pt idx="350">
                  <c:v>110</c:v>
                </c:pt>
                <c:pt idx="351">
                  <c:v>110</c:v>
                </c:pt>
                <c:pt idx="352">
                  <c:v>111</c:v>
                </c:pt>
                <c:pt idx="353">
                  <c:v>110</c:v>
                </c:pt>
                <c:pt idx="354">
                  <c:v>110</c:v>
                </c:pt>
                <c:pt idx="355">
                  <c:v>110</c:v>
                </c:pt>
                <c:pt idx="356">
                  <c:v>112</c:v>
                </c:pt>
                <c:pt idx="357">
                  <c:v>112</c:v>
                </c:pt>
                <c:pt idx="358">
                  <c:v>112</c:v>
                </c:pt>
                <c:pt idx="359">
                  <c:v>112</c:v>
                </c:pt>
                <c:pt idx="360">
                  <c:v>112</c:v>
                </c:pt>
                <c:pt idx="361">
                  <c:v>111</c:v>
                </c:pt>
                <c:pt idx="362">
                  <c:v>111</c:v>
                </c:pt>
                <c:pt idx="363">
                  <c:v>111</c:v>
                </c:pt>
                <c:pt idx="364">
                  <c:v>111</c:v>
                </c:pt>
                <c:pt idx="365">
                  <c:v>112</c:v>
                </c:pt>
                <c:pt idx="366">
                  <c:v>116</c:v>
                </c:pt>
                <c:pt idx="367">
                  <c:v>118</c:v>
                </c:pt>
                <c:pt idx="368">
                  <c:v>119</c:v>
                </c:pt>
                <c:pt idx="369">
                  <c:v>118</c:v>
                </c:pt>
                <c:pt idx="370">
                  <c:v>122</c:v>
                </c:pt>
                <c:pt idx="371">
                  <c:v>119</c:v>
                </c:pt>
                <c:pt idx="372">
                  <c:v>119</c:v>
                </c:pt>
                <c:pt idx="373">
                  <c:v>119</c:v>
                </c:pt>
                <c:pt idx="374">
                  <c:v>119</c:v>
                </c:pt>
                <c:pt idx="375">
                  <c:v>119</c:v>
                </c:pt>
                <c:pt idx="376">
                  <c:v>119</c:v>
                </c:pt>
                <c:pt idx="377">
                  <c:v>120</c:v>
                </c:pt>
                <c:pt idx="378">
                  <c:v>120</c:v>
                </c:pt>
                <c:pt idx="379">
                  <c:v>120</c:v>
                </c:pt>
                <c:pt idx="380">
                  <c:v>119</c:v>
                </c:pt>
                <c:pt idx="381">
                  <c:v>117</c:v>
                </c:pt>
                <c:pt idx="382">
                  <c:v>117</c:v>
                </c:pt>
                <c:pt idx="383">
                  <c:v>117</c:v>
                </c:pt>
                <c:pt idx="384">
                  <c:v>118</c:v>
                </c:pt>
                <c:pt idx="385">
                  <c:v>115</c:v>
                </c:pt>
                <c:pt idx="386">
                  <c:v>115</c:v>
                </c:pt>
                <c:pt idx="387">
                  <c:v>113</c:v>
                </c:pt>
                <c:pt idx="388">
                  <c:v>113</c:v>
                </c:pt>
                <c:pt idx="389">
                  <c:v>113</c:v>
                </c:pt>
                <c:pt idx="390">
                  <c:v>113</c:v>
                </c:pt>
                <c:pt idx="391">
                  <c:v>115</c:v>
                </c:pt>
                <c:pt idx="392">
                  <c:v>113</c:v>
                </c:pt>
                <c:pt idx="393">
                  <c:v>114</c:v>
                </c:pt>
                <c:pt idx="394">
                  <c:v>114</c:v>
                </c:pt>
                <c:pt idx="395">
                  <c:v>115</c:v>
                </c:pt>
                <c:pt idx="396">
                  <c:v>116</c:v>
                </c:pt>
                <c:pt idx="397">
                  <c:v>117</c:v>
                </c:pt>
                <c:pt idx="398">
                  <c:v>119</c:v>
                </c:pt>
                <c:pt idx="399">
                  <c:v>121</c:v>
                </c:pt>
                <c:pt idx="400">
                  <c:v>129</c:v>
                </c:pt>
                <c:pt idx="401">
                  <c:v>128</c:v>
                </c:pt>
                <c:pt idx="402">
                  <c:v>153</c:v>
                </c:pt>
                <c:pt idx="403">
                  <c:v>153</c:v>
                </c:pt>
                <c:pt idx="404">
                  <c:v>153</c:v>
                </c:pt>
                <c:pt idx="405">
                  <c:v>154</c:v>
                </c:pt>
                <c:pt idx="406">
                  <c:v>154</c:v>
                </c:pt>
                <c:pt idx="407">
                  <c:v>173</c:v>
                </c:pt>
                <c:pt idx="408">
                  <c:v>175</c:v>
                </c:pt>
                <c:pt idx="409">
                  <c:v>175</c:v>
                </c:pt>
                <c:pt idx="410">
                  <c:v>175</c:v>
                </c:pt>
                <c:pt idx="411">
                  <c:v>174</c:v>
                </c:pt>
                <c:pt idx="412">
                  <c:v>178</c:v>
                </c:pt>
                <c:pt idx="413">
                  <c:v>178</c:v>
                </c:pt>
                <c:pt idx="414">
                  <c:v>173</c:v>
                </c:pt>
                <c:pt idx="415">
                  <c:v>173</c:v>
                </c:pt>
                <c:pt idx="416">
                  <c:v>156</c:v>
                </c:pt>
                <c:pt idx="417">
                  <c:v>155</c:v>
                </c:pt>
                <c:pt idx="418">
                  <c:v>153</c:v>
                </c:pt>
                <c:pt idx="419">
                  <c:v>166</c:v>
                </c:pt>
                <c:pt idx="420">
                  <c:v>174</c:v>
                </c:pt>
                <c:pt idx="421">
                  <c:v>182</c:v>
                </c:pt>
                <c:pt idx="422">
                  <c:v>166</c:v>
                </c:pt>
                <c:pt idx="423">
                  <c:v>184</c:v>
                </c:pt>
                <c:pt idx="424">
                  <c:v>187</c:v>
                </c:pt>
                <c:pt idx="425">
                  <c:v>196</c:v>
                </c:pt>
                <c:pt idx="426">
                  <c:v>231</c:v>
                </c:pt>
                <c:pt idx="427">
                  <c:v>241</c:v>
                </c:pt>
                <c:pt idx="428">
                  <c:v>246</c:v>
                </c:pt>
                <c:pt idx="429">
                  <c:v>293</c:v>
                </c:pt>
                <c:pt idx="430">
                  <c:v>312</c:v>
                </c:pt>
                <c:pt idx="431">
                  <c:v>306</c:v>
                </c:pt>
                <c:pt idx="432">
                  <c:v>305</c:v>
                </c:pt>
                <c:pt idx="433">
                  <c:v>329</c:v>
                </c:pt>
                <c:pt idx="434">
                  <c:v>343</c:v>
                </c:pt>
                <c:pt idx="435">
                  <c:v>349</c:v>
                </c:pt>
                <c:pt idx="436">
                  <c:v>358</c:v>
                </c:pt>
                <c:pt idx="437">
                  <c:v>370</c:v>
                </c:pt>
                <c:pt idx="438">
                  <c:v>367</c:v>
                </c:pt>
                <c:pt idx="439">
                  <c:v>372</c:v>
                </c:pt>
                <c:pt idx="440">
                  <c:v>402</c:v>
                </c:pt>
                <c:pt idx="441">
                  <c:v>404</c:v>
                </c:pt>
                <c:pt idx="442">
                  <c:v>406</c:v>
                </c:pt>
                <c:pt idx="443">
                  <c:v>437</c:v>
                </c:pt>
                <c:pt idx="444">
                  <c:v>492</c:v>
                </c:pt>
                <c:pt idx="445">
                  <c:v>496</c:v>
                </c:pt>
                <c:pt idx="446">
                  <c:v>494</c:v>
                </c:pt>
                <c:pt idx="447">
                  <c:v>534</c:v>
                </c:pt>
                <c:pt idx="448">
                  <c:v>521</c:v>
                </c:pt>
                <c:pt idx="449">
                  <c:v>529</c:v>
                </c:pt>
                <c:pt idx="450">
                  <c:v>529</c:v>
                </c:pt>
                <c:pt idx="451">
                  <c:v>561</c:v>
                </c:pt>
                <c:pt idx="452">
                  <c:v>546</c:v>
                </c:pt>
                <c:pt idx="453">
                  <c:v>547</c:v>
                </c:pt>
                <c:pt idx="454">
                  <c:v>577</c:v>
                </c:pt>
                <c:pt idx="455">
                  <c:v>556</c:v>
                </c:pt>
                <c:pt idx="456">
                  <c:v>529</c:v>
                </c:pt>
                <c:pt idx="457">
                  <c:v>530</c:v>
                </c:pt>
                <c:pt idx="458">
                  <c:v>424</c:v>
                </c:pt>
                <c:pt idx="459">
                  <c:v>445</c:v>
                </c:pt>
                <c:pt idx="460">
                  <c:v>425</c:v>
                </c:pt>
                <c:pt idx="461">
                  <c:v>443</c:v>
                </c:pt>
                <c:pt idx="462">
                  <c:v>421</c:v>
                </c:pt>
                <c:pt idx="463">
                  <c:v>410</c:v>
                </c:pt>
                <c:pt idx="464">
                  <c:v>400</c:v>
                </c:pt>
                <c:pt idx="465">
                  <c:v>358</c:v>
                </c:pt>
                <c:pt idx="466">
                  <c:v>345</c:v>
                </c:pt>
                <c:pt idx="467">
                  <c:v>342</c:v>
                </c:pt>
                <c:pt idx="468">
                  <c:v>349</c:v>
                </c:pt>
                <c:pt idx="469">
                  <c:v>336</c:v>
                </c:pt>
                <c:pt idx="470">
                  <c:v>326</c:v>
                </c:pt>
                <c:pt idx="471">
                  <c:v>304</c:v>
                </c:pt>
                <c:pt idx="472">
                  <c:v>286</c:v>
                </c:pt>
                <c:pt idx="473">
                  <c:v>240</c:v>
                </c:pt>
                <c:pt idx="474">
                  <c:v>241</c:v>
                </c:pt>
                <c:pt idx="475">
                  <c:v>252</c:v>
                </c:pt>
                <c:pt idx="476">
                  <c:v>221</c:v>
                </c:pt>
                <c:pt idx="477">
                  <c:v>199</c:v>
                </c:pt>
                <c:pt idx="478">
                  <c:v>171</c:v>
                </c:pt>
                <c:pt idx="479">
                  <c:v>148</c:v>
                </c:pt>
                <c:pt idx="480">
                  <c:v>137</c:v>
                </c:pt>
                <c:pt idx="481">
                  <c:v>133</c:v>
                </c:pt>
                <c:pt idx="482">
                  <c:v>142</c:v>
                </c:pt>
                <c:pt idx="483">
                  <c:v>121</c:v>
                </c:pt>
                <c:pt idx="484">
                  <c:v>115</c:v>
                </c:pt>
                <c:pt idx="485">
                  <c:v>102</c:v>
                </c:pt>
                <c:pt idx="486">
                  <c:v>94</c:v>
                </c:pt>
                <c:pt idx="487">
                  <c:v>84</c:v>
                </c:pt>
                <c:pt idx="488">
                  <c:v>79</c:v>
                </c:pt>
                <c:pt idx="489">
                  <c:v>81</c:v>
                </c:pt>
                <c:pt idx="490">
                  <c:v>68</c:v>
                </c:pt>
                <c:pt idx="491">
                  <c:v>64</c:v>
                </c:pt>
                <c:pt idx="492">
                  <c:v>65</c:v>
                </c:pt>
                <c:pt idx="493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95</c:f>
              <c:numCache>
                <c:formatCode>m/d/yyyy</c:formatCode>
                <c:ptCount val="49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</c:numCache>
            </c:numRef>
          </c:cat>
          <c:val>
            <c:numRef>
              <c:f>List1!$C$2:$C$495</c:f>
              <c:numCache>
                <c:formatCode>General</c:formatCode>
                <c:ptCount val="494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11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7</c:v>
                </c:pt>
                <c:pt idx="24">
                  <c:v>28</c:v>
                </c:pt>
                <c:pt idx="25">
                  <c:v>32</c:v>
                </c:pt>
                <c:pt idx="26">
                  <c:v>33</c:v>
                </c:pt>
                <c:pt idx="27">
                  <c:v>36</c:v>
                </c:pt>
                <c:pt idx="28">
                  <c:v>55</c:v>
                </c:pt>
                <c:pt idx="29">
                  <c:v>60</c:v>
                </c:pt>
                <c:pt idx="30">
                  <c:v>88</c:v>
                </c:pt>
                <c:pt idx="31">
                  <c:v>177</c:v>
                </c:pt>
                <c:pt idx="32">
                  <c:v>202</c:v>
                </c:pt>
                <c:pt idx="33">
                  <c:v>216</c:v>
                </c:pt>
                <c:pt idx="34">
                  <c:v>299</c:v>
                </c:pt>
                <c:pt idx="35">
                  <c:v>334</c:v>
                </c:pt>
                <c:pt idx="36">
                  <c:v>361</c:v>
                </c:pt>
                <c:pt idx="37">
                  <c:v>441</c:v>
                </c:pt>
                <c:pt idx="38">
                  <c:v>522</c:v>
                </c:pt>
                <c:pt idx="39">
                  <c:v>560</c:v>
                </c:pt>
                <c:pt idx="40">
                  <c:v>574</c:v>
                </c:pt>
                <c:pt idx="41">
                  <c:v>701</c:v>
                </c:pt>
                <c:pt idx="42">
                  <c:v>822</c:v>
                </c:pt>
                <c:pt idx="43">
                  <c:v>987</c:v>
                </c:pt>
                <c:pt idx="44">
                  <c:v>1157</c:v>
                </c:pt>
                <c:pt idx="45">
                  <c:v>1322</c:v>
                </c:pt>
                <c:pt idx="46">
                  <c:v>1390</c:v>
                </c:pt>
                <c:pt idx="47">
                  <c:v>1384</c:v>
                </c:pt>
                <c:pt idx="48">
                  <c:v>1522</c:v>
                </c:pt>
                <c:pt idx="49">
                  <c:v>1662</c:v>
                </c:pt>
                <c:pt idx="50">
                  <c:v>1880</c:v>
                </c:pt>
                <c:pt idx="51">
                  <c:v>2038</c:v>
                </c:pt>
                <c:pt idx="52">
                  <c:v>2298</c:v>
                </c:pt>
                <c:pt idx="53">
                  <c:v>2371</c:v>
                </c:pt>
                <c:pt idx="54">
                  <c:v>2335</c:v>
                </c:pt>
                <c:pt idx="55">
                  <c:v>2496</c:v>
                </c:pt>
                <c:pt idx="56">
                  <c:v>2665</c:v>
                </c:pt>
                <c:pt idx="57">
                  <c:v>2678</c:v>
                </c:pt>
                <c:pt idx="58">
                  <c:v>3072</c:v>
                </c:pt>
                <c:pt idx="59">
                  <c:v>3206</c:v>
                </c:pt>
                <c:pt idx="60">
                  <c:v>3121</c:v>
                </c:pt>
                <c:pt idx="61">
                  <c:v>2960</c:v>
                </c:pt>
                <c:pt idx="62">
                  <c:v>2975</c:v>
                </c:pt>
                <c:pt idx="63">
                  <c:v>2901</c:v>
                </c:pt>
                <c:pt idx="64">
                  <c:v>3089</c:v>
                </c:pt>
                <c:pt idx="65">
                  <c:v>3262</c:v>
                </c:pt>
                <c:pt idx="66">
                  <c:v>3081</c:v>
                </c:pt>
                <c:pt idx="67">
                  <c:v>2832</c:v>
                </c:pt>
                <c:pt idx="68">
                  <c:v>2732</c:v>
                </c:pt>
                <c:pt idx="69">
                  <c:v>2579</c:v>
                </c:pt>
                <c:pt idx="70">
                  <c:v>2438</c:v>
                </c:pt>
                <c:pt idx="71">
                  <c:v>2555</c:v>
                </c:pt>
                <c:pt idx="72">
                  <c:v>2679</c:v>
                </c:pt>
                <c:pt idx="73">
                  <c:v>2581</c:v>
                </c:pt>
                <c:pt idx="74">
                  <c:v>2380</c:v>
                </c:pt>
                <c:pt idx="75">
                  <c:v>2138</c:v>
                </c:pt>
                <c:pt idx="76">
                  <c:v>2095</c:v>
                </c:pt>
                <c:pt idx="77">
                  <c:v>1935</c:v>
                </c:pt>
                <c:pt idx="78">
                  <c:v>2036</c:v>
                </c:pt>
                <c:pt idx="79">
                  <c:v>2109</c:v>
                </c:pt>
                <c:pt idx="80">
                  <c:v>2053</c:v>
                </c:pt>
                <c:pt idx="81">
                  <c:v>1798</c:v>
                </c:pt>
                <c:pt idx="82">
                  <c:v>1613</c:v>
                </c:pt>
                <c:pt idx="83">
                  <c:v>1591</c:v>
                </c:pt>
                <c:pt idx="84">
                  <c:v>1529</c:v>
                </c:pt>
                <c:pt idx="85">
                  <c:v>1553</c:v>
                </c:pt>
                <c:pt idx="86">
                  <c:v>1575</c:v>
                </c:pt>
                <c:pt idx="87">
                  <c:v>1530</c:v>
                </c:pt>
                <c:pt idx="88">
                  <c:v>1493</c:v>
                </c:pt>
                <c:pt idx="89">
                  <c:v>1348</c:v>
                </c:pt>
                <c:pt idx="90">
                  <c:v>1320</c:v>
                </c:pt>
                <c:pt idx="91">
                  <c:v>1313</c:v>
                </c:pt>
                <c:pt idx="92">
                  <c:v>1359</c:v>
                </c:pt>
                <c:pt idx="93">
                  <c:v>1397</c:v>
                </c:pt>
                <c:pt idx="94">
                  <c:v>1331</c:v>
                </c:pt>
                <c:pt idx="95">
                  <c:v>1270</c:v>
                </c:pt>
                <c:pt idx="96">
                  <c:v>1197</c:v>
                </c:pt>
                <c:pt idx="97">
                  <c:v>1257</c:v>
                </c:pt>
                <c:pt idx="98">
                  <c:v>1245</c:v>
                </c:pt>
                <c:pt idx="99">
                  <c:v>1283</c:v>
                </c:pt>
                <c:pt idx="100">
                  <c:v>1329</c:v>
                </c:pt>
                <c:pt idx="101">
                  <c:v>1309</c:v>
                </c:pt>
                <c:pt idx="102">
                  <c:v>1238</c:v>
                </c:pt>
                <c:pt idx="103">
                  <c:v>1198</c:v>
                </c:pt>
                <c:pt idx="104">
                  <c:v>1231</c:v>
                </c:pt>
                <c:pt idx="105">
                  <c:v>1234</c:v>
                </c:pt>
                <c:pt idx="106">
                  <c:v>1303</c:v>
                </c:pt>
                <c:pt idx="107">
                  <c:v>1336</c:v>
                </c:pt>
                <c:pt idx="108">
                  <c:v>1287</c:v>
                </c:pt>
                <c:pt idx="109">
                  <c:v>1231</c:v>
                </c:pt>
                <c:pt idx="110">
                  <c:v>1181</c:v>
                </c:pt>
                <c:pt idx="111">
                  <c:v>1280</c:v>
                </c:pt>
                <c:pt idx="112">
                  <c:v>1326</c:v>
                </c:pt>
                <c:pt idx="113">
                  <c:v>1413</c:v>
                </c:pt>
                <c:pt idx="114">
                  <c:v>1428</c:v>
                </c:pt>
                <c:pt idx="115">
                  <c:v>1374</c:v>
                </c:pt>
                <c:pt idx="116">
                  <c:v>1330</c:v>
                </c:pt>
                <c:pt idx="117">
                  <c:v>1299</c:v>
                </c:pt>
                <c:pt idx="118">
                  <c:v>1412</c:v>
                </c:pt>
                <c:pt idx="119">
                  <c:v>1501</c:v>
                </c:pt>
                <c:pt idx="120">
                  <c:v>1577</c:v>
                </c:pt>
                <c:pt idx="121">
                  <c:v>1643</c:v>
                </c:pt>
                <c:pt idx="122">
                  <c:v>1548</c:v>
                </c:pt>
                <c:pt idx="123">
                  <c:v>1476</c:v>
                </c:pt>
                <c:pt idx="124">
                  <c:v>1409</c:v>
                </c:pt>
                <c:pt idx="125">
                  <c:v>1670</c:v>
                </c:pt>
                <c:pt idx="126">
                  <c:v>1791</c:v>
                </c:pt>
                <c:pt idx="127">
                  <c:v>1866</c:v>
                </c:pt>
                <c:pt idx="128">
                  <c:v>1927</c:v>
                </c:pt>
                <c:pt idx="129">
                  <c:v>1828</c:v>
                </c:pt>
                <c:pt idx="130">
                  <c:v>1713</c:v>
                </c:pt>
                <c:pt idx="131">
                  <c:v>1595</c:v>
                </c:pt>
                <c:pt idx="132">
                  <c:v>1740</c:v>
                </c:pt>
                <c:pt idx="133">
                  <c:v>1825</c:v>
                </c:pt>
                <c:pt idx="134">
                  <c:v>1897</c:v>
                </c:pt>
                <c:pt idx="135">
                  <c:v>1898</c:v>
                </c:pt>
                <c:pt idx="136">
                  <c:v>1755</c:v>
                </c:pt>
                <c:pt idx="137">
                  <c:v>1612</c:v>
                </c:pt>
                <c:pt idx="138">
                  <c:v>1503</c:v>
                </c:pt>
                <c:pt idx="139">
                  <c:v>1502</c:v>
                </c:pt>
                <c:pt idx="140">
                  <c:v>1452</c:v>
                </c:pt>
                <c:pt idx="141">
                  <c:v>1484</c:v>
                </c:pt>
                <c:pt idx="142">
                  <c:v>1512</c:v>
                </c:pt>
                <c:pt idx="143">
                  <c:v>1418</c:v>
                </c:pt>
                <c:pt idx="144">
                  <c:v>1342</c:v>
                </c:pt>
                <c:pt idx="145">
                  <c:v>1231</c:v>
                </c:pt>
                <c:pt idx="146">
                  <c:v>1244</c:v>
                </c:pt>
                <c:pt idx="147">
                  <c:v>1248</c:v>
                </c:pt>
                <c:pt idx="148">
                  <c:v>1276</c:v>
                </c:pt>
                <c:pt idx="149">
                  <c:v>1286</c:v>
                </c:pt>
                <c:pt idx="150">
                  <c:v>1201</c:v>
                </c:pt>
                <c:pt idx="151">
                  <c:v>1135</c:v>
                </c:pt>
                <c:pt idx="152">
                  <c:v>1057</c:v>
                </c:pt>
                <c:pt idx="153">
                  <c:v>1078</c:v>
                </c:pt>
                <c:pt idx="154">
                  <c:v>1068</c:v>
                </c:pt>
                <c:pt idx="155">
                  <c:v>1107</c:v>
                </c:pt>
                <c:pt idx="156">
                  <c:v>1128</c:v>
                </c:pt>
                <c:pt idx="157">
                  <c:v>1075</c:v>
                </c:pt>
                <c:pt idx="158">
                  <c:v>1006</c:v>
                </c:pt>
                <c:pt idx="159">
                  <c:v>963</c:v>
                </c:pt>
                <c:pt idx="160">
                  <c:v>987</c:v>
                </c:pt>
                <c:pt idx="161">
                  <c:v>955</c:v>
                </c:pt>
                <c:pt idx="162">
                  <c:v>973</c:v>
                </c:pt>
                <c:pt idx="163">
                  <c:v>999</c:v>
                </c:pt>
                <c:pt idx="164">
                  <c:v>961</c:v>
                </c:pt>
                <c:pt idx="165">
                  <c:v>902</c:v>
                </c:pt>
                <c:pt idx="166">
                  <c:v>851</c:v>
                </c:pt>
                <c:pt idx="167">
                  <c:v>869</c:v>
                </c:pt>
                <c:pt idx="168">
                  <c:v>860</c:v>
                </c:pt>
                <c:pt idx="169">
                  <c:v>879</c:v>
                </c:pt>
                <c:pt idx="170">
                  <c:v>894</c:v>
                </c:pt>
                <c:pt idx="171">
                  <c:v>866</c:v>
                </c:pt>
                <c:pt idx="172">
                  <c:v>826</c:v>
                </c:pt>
                <c:pt idx="173">
                  <c:v>799</c:v>
                </c:pt>
                <c:pt idx="174">
                  <c:v>831</c:v>
                </c:pt>
                <c:pt idx="175">
                  <c:v>845</c:v>
                </c:pt>
                <c:pt idx="176">
                  <c:v>860</c:v>
                </c:pt>
                <c:pt idx="177">
                  <c:v>886</c:v>
                </c:pt>
                <c:pt idx="178">
                  <c:v>864</c:v>
                </c:pt>
                <c:pt idx="179">
                  <c:v>815</c:v>
                </c:pt>
                <c:pt idx="180">
                  <c:v>780</c:v>
                </c:pt>
                <c:pt idx="181">
                  <c:v>804</c:v>
                </c:pt>
                <c:pt idx="182">
                  <c:v>797</c:v>
                </c:pt>
                <c:pt idx="183">
                  <c:v>838</c:v>
                </c:pt>
                <c:pt idx="184">
                  <c:v>866</c:v>
                </c:pt>
                <c:pt idx="185">
                  <c:v>815</c:v>
                </c:pt>
                <c:pt idx="186">
                  <c:v>764</c:v>
                </c:pt>
                <c:pt idx="187">
                  <c:v>732</c:v>
                </c:pt>
                <c:pt idx="188">
                  <c:v>751</c:v>
                </c:pt>
                <c:pt idx="189">
                  <c:v>737</c:v>
                </c:pt>
                <c:pt idx="190">
                  <c:v>757</c:v>
                </c:pt>
                <c:pt idx="191">
                  <c:v>772</c:v>
                </c:pt>
                <c:pt idx="192">
                  <c:v>788</c:v>
                </c:pt>
                <c:pt idx="193">
                  <c:v>798</c:v>
                </c:pt>
                <c:pt idx="194">
                  <c:v>804</c:v>
                </c:pt>
                <c:pt idx="195">
                  <c:v>838</c:v>
                </c:pt>
                <c:pt idx="196">
                  <c:v>800</c:v>
                </c:pt>
                <c:pt idx="197">
                  <c:v>776</c:v>
                </c:pt>
                <c:pt idx="198">
                  <c:v>738</c:v>
                </c:pt>
                <c:pt idx="199">
                  <c:v>718</c:v>
                </c:pt>
                <c:pt idx="200">
                  <c:v>685</c:v>
                </c:pt>
                <c:pt idx="201">
                  <c:v>680</c:v>
                </c:pt>
                <c:pt idx="202">
                  <c:v>705</c:v>
                </c:pt>
                <c:pt idx="203">
                  <c:v>660</c:v>
                </c:pt>
                <c:pt idx="204">
                  <c:v>634</c:v>
                </c:pt>
                <c:pt idx="205">
                  <c:v>606</c:v>
                </c:pt>
                <c:pt idx="206">
                  <c:v>594</c:v>
                </c:pt>
                <c:pt idx="207">
                  <c:v>571</c:v>
                </c:pt>
                <c:pt idx="208">
                  <c:v>563</c:v>
                </c:pt>
                <c:pt idx="209">
                  <c:v>570</c:v>
                </c:pt>
                <c:pt idx="210">
                  <c:v>556</c:v>
                </c:pt>
                <c:pt idx="211">
                  <c:v>529</c:v>
                </c:pt>
                <c:pt idx="212">
                  <c:v>520</c:v>
                </c:pt>
                <c:pt idx="213">
                  <c:v>495</c:v>
                </c:pt>
                <c:pt idx="214">
                  <c:v>479</c:v>
                </c:pt>
                <c:pt idx="215">
                  <c:v>478</c:v>
                </c:pt>
                <c:pt idx="216">
                  <c:v>481</c:v>
                </c:pt>
                <c:pt idx="217">
                  <c:v>467</c:v>
                </c:pt>
                <c:pt idx="218">
                  <c:v>459</c:v>
                </c:pt>
                <c:pt idx="219">
                  <c:v>457</c:v>
                </c:pt>
                <c:pt idx="220">
                  <c:v>451</c:v>
                </c:pt>
                <c:pt idx="221">
                  <c:v>437</c:v>
                </c:pt>
                <c:pt idx="222">
                  <c:v>433</c:v>
                </c:pt>
                <c:pt idx="223">
                  <c:v>438</c:v>
                </c:pt>
                <c:pt idx="224">
                  <c:v>414</c:v>
                </c:pt>
                <c:pt idx="225">
                  <c:v>407</c:v>
                </c:pt>
                <c:pt idx="226">
                  <c:v>401</c:v>
                </c:pt>
                <c:pt idx="227">
                  <c:v>397</c:v>
                </c:pt>
                <c:pt idx="228">
                  <c:v>396</c:v>
                </c:pt>
                <c:pt idx="229">
                  <c:v>393</c:v>
                </c:pt>
                <c:pt idx="230">
                  <c:v>401</c:v>
                </c:pt>
                <c:pt idx="231">
                  <c:v>395</c:v>
                </c:pt>
                <c:pt idx="232">
                  <c:v>372</c:v>
                </c:pt>
                <c:pt idx="233">
                  <c:v>354</c:v>
                </c:pt>
                <c:pt idx="234">
                  <c:v>346</c:v>
                </c:pt>
                <c:pt idx="235">
                  <c:v>339</c:v>
                </c:pt>
                <c:pt idx="236">
                  <c:v>337</c:v>
                </c:pt>
                <c:pt idx="237">
                  <c:v>342</c:v>
                </c:pt>
                <c:pt idx="238">
                  <c:v>338</c:v>
                </c:pt>
                <c:pt idx="239">
                  <c:v>333</c:v>
                </c:pt>
                <c:pt idx="240">
                  <c:v>329</c:v>
                </c:pt>
                <c:pt idx="241">
                  <c:v>326</c:v>
                </c:pt>
                <c:pt idx="242">
                  <c:v>323</c:v>
                </c:pt>
                <c:pt idx="243">
                  <c:v>322</c:v>
                </c:pt>
                <c:pt idx="244">
                  <c:v>324</c:v>
                </c:pt>
                <c:pt idx="245">
                  <c:v>313</c:v>
                </c:pt>
                <c:pt idx="246">
                  <c:v>309</c:v>
                </c:pt>
                <c:pt idx="247">
                  <c:v>310</c:v>
                </c:pt>
                <c:pt idx="248">
                  <c:v>308</c:v>
                </c:pt>
                <c:pt idx="249">
                  <c:v>303</c:v>
                </c:pt>
                <c:pt idx="250">
                  <c:v>301</c:v>
                </c:pt>
                <c:pt idx="251">
                  <c:v>302</c:v>
                </c:pt>
                <c:pt idx="252">
                  <c:v>298</c:v>
                </c:pt>
                <c:pt idx="253">
                  <c:v>294</c:v>
                </c:pt>
                <c:pt idx="254">
                  <c:v>294</c:v>
                </c:pt>
                <c:pt idx="255">
                  <c:v>294</c:v>
                </c:pt>
                <c:pt idx="256">
                  <c:v>291</c:v>
                </c:pt>
                <c:pt idx="257">
                  <c:v>291</c:v>
                </c:pt>
                <c:pt idx="258">
                  <c:v>293</c:v>
                </c:pt>
                <c:pt idx="259">
                  <c:v>294</c:v>
                </c:pt>
                <c:pt idx="260">
                  <c:v>291</c:v>
                </c:pt>
                <c:pt idx="261">
                  <c:v>292</c:v>
                </c:pt>
                <c:pt idx="262">
                  <c:v>291</c:v>
                </c:pt>
                <c:pt idx="263">
                  <c:v>288</c:v>
                </c:pt>
                <c:pt idx="264">
                  <c:v>288</c:v>
                </c:pt>
                <c:pt idx="265">
                  <c:v>290</c:v>
                </c:pt>
                <c:pt idx="266">
                  <c:v>288</c:v>
                </c:pt>
                <c:pt idx="267">
                  <c:v>285</c:v>
                </c:pt>
                <c:pt idx="268">
                  <c:v>284</c:v>
                </c:pt>
                <c:pt idx="269">
                  <c:v>282</c:v>
                </c:pt>
                <c:pt idx="270">
                  <c:v>280</c:v>
                </c:pt>
                <c:pt idx="271">
                  <c:v>280</c:v>
                </c:pt>
                <c:pt idx="272">
                  <c:v>279</c:v>
                </c:pt>
                <c:pt idx="273">
                  <c:v>276</c:v>
                </c:pt>
                <c:pt idx="274">
                  <c:v>273</c:v>
                </c:pt>
                <c:pt idx="275">
                  <c:v>272</c:v>
                </c:pt>
                <c:pt idx="276">
                  <c:v>271</c:v>
                </c:pt>
                <c:pt idx="277">
                  <c:v>271</c:v>
                </c:pt>
                <c:pt idx="278">
                  <c:v>271</c:v>
                </c:pt>
                <c:pt idx="279">
                  <c:v>270</c:v>
                </c:pt>
                <c:pt idx="280">
                  <c:v>268</c:v>
                </c:pt>
                <c:pt idx="281">
                  <c:v>266</c:v>
                </c:pt>
                <c:pt idx="282">
                  <c:v>266</c:v>
                </c:pt>
                <c:pt idx="283">
                  <c:v>266</c:v>
                </c:pt>
                <c:pt idx="284">
                  <c:v>266</c:v>
                </c:pt>
                <c:pt idx="285">
                  <c:v>266</c:v>
                </c:pt>
                <c:pt idx="286">
                  <c:v>266</c:v>
                </c:pt>
                <c:pt idx="287">
                  <c:v>266</c:v>
                </c:pt>
                <c:pt idx="288">
                  <c:v>266</c:v>
                </c:pt>
                <c:pt idx="289">
                  <c:v>265</c:v>
                </c:pt>
                <c:pt idx="290">
                  <c:v>265</c:v>
                </c:pt>
                <c:pt idx="291">
                  <c:v>265</c:v>
                </c:pt>
                <c:pt idx="292">
                  <c:v>265</c:v>
                </c:pt>
                <c:pt idx="293">
                  <c:v>265</c:v>
                </c:pt>
                <c:pt idx="294">
                  <c:v>265</c:v>
                </c:pt>
                <c:pt idx="295">
                  <c:v>265</c:v>
                </c:pt>
                <c:pt idx="296">
                  <c:v>265</c:v>
                </c:pt>
                <c:pt idx="297">
                  <c:v>264</c:v>
                </c:pt>
                <c:pt idx="298">
                  <c:v>264</c:v>
                </c:pt>
                <c:pt idx="299">
                  <c:v>264</c:v>
                </c:pt>
                <c:pt idx="300">
                  <c:v>264</c:v>
                </c:pt>
                <c:pt idx="301">
                  <c:v>264</c:v>
                </c:pt>
                <c:pt idx="302">
                  <c:v>265</c:v>
                </c:pt>
                <c:pt idx="303">
                  <c:v>265</c:v>
                </c:pt>
                <c:pt idx="304">
                  <c:v>265</c:v>
                </c:pt>
                <c:pt idx="305">
                  <c:v>265</c:v>
                </c:pt>
                <c:pt idx="306">
                  <c:v>265</c:v>
                </c:pt>
                <c:pt idx="307">
                  <c:v>265</c:v>
                </c:pt>
                <c:pt idx="308">
                  <c:v>265</c:v>
                </c:pt>
                <c:pt idx="309">
                  <c:v>265</c:v>
                </c:pt>
                <c:pt idx="310">
                  <c:v>265</c:v>
                </c:pt>
                <c:pt idx="311">
                  <c:v>265</c:v>
                </c:pt>
                <c:pt idx="312">
                  <c:v>265</c:v>
                </c:pt>
                <c:pt idx="313">
                  <c:v>266</c:v>
                </c:pt>
                <c:pt idx="314">
                  <c:v>266</c:v>
                </c:pt>
                <c:pt idx="315">
                  <c:v>266</c:v>
                </c:pt>
                <c:pt idx="316">
                  <c:v>266</c:v>
                </c:pt>
                <c:pt idx="317">
                  <c:v>266</c:v>
                </c:pt>
                <c:pt idx="318">
                  <c:v>265</c:v>
                </c:pt>
                <c:pt idx="319">
                  <c:v>265</c:v>
                </c:pt>
                <c:pt idx="320">
                  <c:v>265</c:v>
                </c:pt>
                <c:pt idx="321">
                  <c:v>265</c:v>
                </c:pt>
                <c:pt idx="322">
                  <c:v>265</c:v>
                </c:pt>
                <c:pt idx="323">
                  <c:v>266</c:v>
                </c:pt>
                <c:pt idx="324">
                  <c:v>265</c:v>
                </c:pt>
                <c:pt idx="325">
                  <c:v>265</c:v>
                </c:pt>
                <c:pt idx="326">
                  <c:v>264</c:v>
                </c:pt>
                <c:pt idx="327">
                  <c:v>264</c:v>
                </c:pt>
                <c:pt idx="328">
                  <c:v>263</c:v>
                </c:pt>
                <c:pt idx="329">
                  <c:v>264</c:v>
                </c:pt>
                <c:pt idx="330">
                  <c:v>265</c:v>
                </c:pt>
                <c:pt idx="331">
                  <c:v>265</c:v>
                </c:pt>
                <c:pt idx="332">
                  <c:v>265</c:v>
                </c:pt>
                <c:pt idx="333">
                  <c:v>265</c:v>
                </c:pt>
                <c:pt idx="334">
                  <c:v>265</c:v>
                </c:pt>
                <c:pt idx="335">
                  <c:v>265</c:v>
                </c:pt>
                <c:pt idx="336">
                  <c:v>265</c:v>
                </c:pt>
                <c:pt idx="337">
                  <c:v>265</c:v>
                </c:pt>
                <c:pt idx="338">
                  <c:v>264</c:v>
                </c:pt>
                <c:pt idx="339">
                  <c:v>264</c:v>
                </c:pt>
                <c:pt idx="340">
                  <c:v>264</c:v>
                </c:pt>
                <c:pt idx="341">
                  <c:v>265</c:v>
                </c:pt>
                <c:pt idx="342">
                  <c:v>265</c:v>
                </c:pt>
                <c:pt idx="343">
                  <c:v>264</c:v>
                </c:pt>
                <c:pt idx="344">
                  <c:v>264</c:v>
                </c:pt>
                <c:pt idx="345">
                  <c:v>264</c:v>
                </c:pt>
                <c:pt idx="346">
                  <c:v>264</c:v>
                </c:pt>
                <c:pt idx="347">
                  <c:v>264</c:v>
                </c:pt>
                <c:pt idx="348">
                  <c:v>264</c:v>
                </c:pt>
                <c:pt idx="349">
                  <c:v>264</c:v>
                </c:pt>
                <c:pt idx="350">
                  <c:v>263</c:v>
                </c:pt>
                <c:pt idx="351">
                  <c:v>263</c:v>
                </c:pt>
                <c:pt idx="352">
                  <c:v>263</c:v>
                </c:pt>
                <c:pt idx="353">
                  <c:v>263</c:v>
                </c:pt>
                <c:pt idx="354">
                  <c:v>263</c:v>
                </c:pt>
                <c:pt idx="355">
                  <c:v>263</c:v>
                </c:pt>
                <c:pt idx="356">
                  <c:v>264</c:v>
                </c:pt>
                <c:pt idx="357">
                  <c:v>264</c:v>
                </c:pt>
                <c:pt idx="358">
                  <c:v>264</c:v>
                </c:pt>
                <c:pt idx="359">
                  <c:v>264</c:v>
                </c:pt>
                <c:pt idx="360">
                  <c:v>265</c:v>
                </c:pt>
                <c:pt idx="361">
                  <c:v>265</c:v>
                </c:pt>
                <c:pt idx="362">
                  <c:v>265</c:v>
                </c:pt>
                <c:pt idx="363">
                  <c:v>265</c:v>
                </c:pt>
                <c:pt idx="364">
                  <c:v>265</c:v>
                </c:pt>
                <c:pt idx="365">
                  <c:v>268</c:v>
                </c:pt>
                <c:pt idx="366">
                  <c:v>269</c:v>
                </c:pt>
                <c:pt idx="367">
                  <c:v>270</c:v>
                </c:pt>
                <c:pt idx="368">
                  <c:v>270</c:v>
                </c:pt>
                <c:pt idx="369">
                  <c:v>270</c:v>
                </c:pt>
                <c:pt idx="370">
                  <c:v>271</c:v>
                </c:pt>
                <c:pt idx="371">
                  <c:v>272</c:v>
                </c:pt>
                <c:pt idx="372">
                  <c:v>273</c:v>
                </c:pt>
                <c:pt idx="373">
                  <c:v>274</c:v>
                </c:pt>
                <c:pt idx="374">
                  <c:v>274</c:v>
                </c:pt>
                <c:pt idx="375">
                  <c:v>273</c:v>
                </c:pt>
                <c:pt idx="376">
                  <c:v>272</c:v>
                </c:pt>
                <c:pt idx="377">
                  <c:v>272</c:v>
                </c:pt>
                <c:pt idx="378">
                  <c:v>273</c:v>
                </c:pt>
                <c:pt idx="379">
                  <c:v>272</c:v>
                </c:pt>
                <c:pt idx="380">
                  <c:v>272</c:v>
                </c:pt>
                <c:pt idx="381">
                  <c:v>271</c:v>
                </c:pt>
                <c:pt idx="382">
                  <c:v>269</c:v>
                </c:pt>
                <c:pt idx="383">
                  <c:v>269</c:v>
                </c:pt>
                <c:pt idx="384">
                  <c:v>273</c:v>
                </c:pt>
                <c:pt idx="385">
                  <c:v>276</c:v>
                </c:pt>
                <c:pt idx="386">
                  <c:v>276</c:v>
                </c:pt>
                <c:pt idx="387">
                  <c:v>276</c:v>
                </c:pt>
                <c:pt idx="388">
                  <c:v>276</c:v>
                </c:pt>
                <c:pt idx="389">
                  <c:v>277</c:v>
                </c:pt>
                <c:pt idx="390">
                  <c:v>278</c:v>
                </c:pt>
                <c:pt idx="391">
                  <c:v>282</c:v>
                </c:pt>
                <c:pt idx="392">
                  <c:v>284</c:v>
                </c:pt>
                <c:pt idx="393">
                  <c:v>289</c:v>
                </c:pt>
                <c:pt idx="394">
                  <c:v>290</c:v>
                </c:pt>
                <c:pt idx="395">
                  <c:v>291</c:v>
                </c:pt>
                <c:pt idx="396">
                  <c:v>290</c:v>
                </c:pt>
                <c:pt idx="397">
                  <c:v>289</c:v>
                </c:pt>
                <c:pt idx="398">
                  <c:v>291</c:v>
                </c:pt>
                <c:pt idx="399">
                  <c:v>293</c:v>
                </c:pt>
                <c:pt idx="400">
                  <c:v>293</c:v>
                </c:pt>
                <c:pt idx="401">
                  <c:v>294</c:v>
                </c:pt>
                <c:pt idx="402">
                  <c:v>295</c:v>
                </c:pt>
                <c:pt idx="403">
                  <c:v>296</c:v>
                </c:pt>
                <c:pt idx="404">
                  <c:v>294</c:v>
                </c:pt>
                <c:pt idx="405">
                  <c:v>296</c:v>
                </c:pt>
                <c:pt idx="406">
                  <c:v>292</c:v>
                </c:pt>
                <c:pt idx="407">
                  <c:v>292</c:v>
                </c:pt>
                <c:pt idx="408">
                  <c:v>288</c:v>
                </c:pt>
                <c:pt idx="409">
                  <c:v>293</c:v>
                </c:pt>
                <c:pt idx="410">
                  <c:v>293</c:v>
                </c:pt>
                <c:pt idx="411">
                  <c:v>294</c:v>
                </c:pt>
                <c:pt idx="412">
                  <c:v>306</c:v>
                </c:pt>
                <c:pt idx="413">
                  <c:v>310</c:v>
                </c:pt>
                <c:pt idx="414">
                  <c:v>318</c:v>
                </c:pt>
                <c:pt idx="415">
                  <c:v>321</c:v>
                </c:pt>
                <c:pt idx="416">
                  <c:v>327</c:v>
                </c:pt>
                <c:pt idx="417">
                  <c:v>323</c:v>
                </c:pt>
                <c:pt idx="418">
                  <c:v>326</c:v>
                </c:pt>
                <c:pt idx="419">
                  <c:v>344</c:v>
                </c:pt>
                <c:pt idx="420">
                  <c:v>346</c:v>
                </c:pt>
                <c:pt idx="421">
                  <c:v>360</c:v>
                </c:pt>
                <c:pt idx="422">
                  <c:v>361</c:v>
                </c:pt>
                <c:pt idx="423">
                  <c:v>366</c:v>
                </c:pt>
                <c:pt idx="424">
                  <c:v>366</c:v>
                </c:pt>
                <c:pt idx="425">
                  <c:v>367</c:v>
                </c:pt>
                <c:pt idx="426">
                  <c:v>408</c:v>
                </c:pt>
                <c:pt idx="427">
                  <c:v>418</c:v>
                </c:pt>
                <c:pt idx="428">
                  <c:v>430</c:v>
                </c:pt>
                <c:pt idx="429">
                  <c:v>443</c:v>
                </c:pt>
                <c:pt idx="430">
                  <c:v>461</c:v>
                </c:pt>
                <c:pt idx="431">
                  <c:v>468</c:v>
                </c:pt>
                <c:pt idx="432">
                  <c:v>470</c:v>
                </c:pt>
                <c:pt idx="433">
                  <c:v>516</c:v>
                </c:pt>
                <c:pt idx="434">
                  <c:v>529</c:v>
                </c:pt>
                <c:pt idx="435">
                  <c:v>539</c:v>
                </c:pt>
                <c:pt idx="436">
                  <c:v>565</c:v>
                </c:pt>
                <c:pt idx="437">
                  <c:v>594</c:v>
                </c:pt>
                <c:pt idx="438">
                  <c:v>602</c:v>
                </c:pt>
                <c:pt idx="439">
                  <c:v>608</c:v>
                </c:pt>
                <c:pt idx="440">
                  <c:v>655</c:v>
                </c:pt>
                <c:pt idx="441">
                  <c:v>651</c:v>
                </c:pt>
                <c:pt idx="442">
                  <c:v>634</c:v>
                </c:pt>
                <c:pt idx="443">
                  <c:v>651</c:v>
                </c:pt>
                <c:pt idx="444">
                  <c:v>675</c:v>
                </c:pt>
                <c:pt idx="445">
                  <c:v>661</c:v>
                </c:pt>
                <c:pt idx="446">
                  <c:v>657</c:v>
                </c:pt>
                <c:pt idx="447">
                  <c:v>716</c:v>
                </c:pt>
                <c:pt idx="448">
                  <c:v>719</c:v>
                </c:pt>
                <c:pt idx="449">
                  <c:v>726</c:v>
                </c:pt>
                <c:pt idx="450">
                  <c:v>728</c:v>
                </c:pt>
                <c:pt idx="451">
                  <c:v>735</c:v>
                </c:pt>
                <c:pt idx="452">
                  <c:v>723</c:v>
                </c:pt>
                <c:pt idx="453">
                  <c:v>712</c:v>
                </c:pt>
                <c:pt idx="454">
                  <c:v>745</c:v>
                </c:pt>
                <c:pt idx="455">
                  <c:v>726</c:v>
                </c:pt>
                <c:pt idx="456">
                  <c:v>716</c:v>
                </c:pt>
                <c:pt idx="457">
                  <c:v>731</c:v>
                </c:pt>
                <c:pt idx="458">
                  <c:v>691</c:v>
                </c:pt>
                <c:pt idx="459">
                  <c:v>656</c:v>
                </c:pt>
                <c:pt idx="460">
                  <c:v>646</c:v>
                </c:pt>
                <c:pt idx="461">
                  <c:v>680</c:v>
                </c:pt>
                <c:pt idx="462">
                  <c:v>641</c:v>
                </c:pt>
                <c:pt idx="463">
                  <c:v>620</c:v>
                </c:pt>
                <c:pt idx="464">
                  <c:v>582</c:v>
                </c:pt>
                <c:pt idx="465">
                  <c:v>562</c:v>
                </c:pt>
                <c:pt idx="466">
                  <c:v>527</c:v>
                </c:pt>
                <c:pt idx="467">
                  <c:v>520</c:v>
                </c:pt>
                <c:pt idx="468">
                  <c:v>539</c:v>
                </c:pt>
                <c:pt idx="469">
                  <c:v>508</c:v>
                </c:pt>
                <c:pt idx="470">
                  <c:v>477</c:v>
                </c:pt>
                <c:pt idx="471">
                  <c:v>453</c:v>
                </c:pt>
                <c:pt idx="472">
                  <c:v>430</c:v>
                </c:pt>
                <c:pt idx="473">
                  <c:v>383</c:v>
                </c:pt>
                <c:pt idx="474">
                  <c:v>377</c:v>
                </c:pt>
                <c:pt idx="475">
                  <c:v>387</c:v>
                </c:pt>
                <c:pt idx="476">
                  <c:v>341</c:v>
                </c:pt>
                <c:pt idx="477">
                  <c:v>307</c:v>
                </c:pt>
                <c:pt idx="478">
                  <c:v>277</c:v>
                </c:pt>
                <c:pt idx="479">
                  <c:v>262</c:v>
                </c:pt>
                <c:pt idx="480">
                  <c:v>237</c:v>
                </c:pt>
                <c:pt idx="481">
                  <c:v>228</c:v>
                </c:pt>
                <c:pt idx="482">
                  <c:v>224</c:v>
                </c:pt>
                <c:pt idx="483">
                  <c:v>210</c:v>
                </c:pt>
                <c:pt idx="484">
                  <c:v>179</c:v>
                </c:pt>
                <c:pt idx="485">
                  <c:v>175</c:v>
                </c:pt>
                <c:pt idx="486">
                  <c:v>165</c:v>
                </c:pt>
                <c:pt idx="487">
                  <c:v>145</c:v>
                </c:pt>
                <c:pt idx="488">
                  <c:v>135</c:v>
                </c:pt>
                <c:pt idx="489">
                  <c:v>138</c:v>
                </c:pt>
                <c:pt idx="490">
                  <c:v>126</c:v>
                </c:pt>
                <c:pt idx="491">
                  <c:v>128</c:v>
                </c:pt>
                <c:pt idx="492">
                  <c:v>133</c:v>
                </c:pt>
                <c:pt idx="493">
                  <c:v>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95</c:f>
              <c:numCache>
                <c:formatCode>m/d/yyyy</c:formatCode>
                <c:ptCount val="49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</c:numCache>
            </c:numRef>
          </c:cat>
          <c:val>
            <c:numRef>
              <c:f>List1!$D$2:$D$495</c:f>
              <c:numCache>
                <c:formatCode>General</c:formatCode>
                <c:ptCount val="494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9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9</c:v>
                </c:pt>
                <c:pt idx="10">
                  <c:v>9</c:v>
                </c:pt>
                <c:pt idx="11">
                  <c:v>12</c:v>
                </c:pt>
                <c:pt idx="12">
                  <c:v>3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10</c:v>
                </c:pt>
                <c:pt idx="18">
                  <c:v>9</c:v>
                </c:pt>
                <c:pt idx="19">
                  <c:v>14</c:v>
                </c:pt>
                <c:pt idx="20">
                  <c:v>13</c:v>
                </c:pt>
                <c:pt idx="21">
                  <c:v>13</c:v>
                </c:pt>
                <c:pt idx="22">
                  <c:v>14</c:v>
                </c:pt>
                <c:pt idx="23">
                  <c:v>21</c:v>
                </c:pt>
                <c:pt idx="24">
                  <c:v>30</c:v>
                </c:pt>
                <c:pt idx="25">
                  <c:v>39</c:v>
                </c:pt>
                <c:pt idx="26">
                  <c:v>40</c:v>
                </c:pt>
                <c:pt idx="27">
                  <c:v>43</c:v>
                </c:pt>
                <c:pt idx="28">
                  <c:v>66</c:v>
                </c:pt>
                <c:pt idx="29">
                  <c:v>98</c:v>
                </c:pt>
                <c:pt idx="30">
                  <c:v>155</c:v>
                </c:pt>
                <c:pt idx="31">
                  <c:v>299</c:v>
                </c:pt>
                <c:pt idx="32">
                  <c:v>359</c:v>
                </c:pt>
                <c:pt idx="33">
                  <c:v>425</c:v>
                </c:pt>
                <c:pt idx="34">
                  <c:v>665</c:v>
                </c:pt>
                <c:pt idx="35">
                  <c:v>771</c:v>
                </c:pt>
                <c:pt idx="36">
                  <c:v>836</c:v>
                </c:pt>
                <c:pt idx="37">
                  <c:v>984</c:v>
                </c:pt>
                <c:pt idx="38">
                  <c:v>1197</c:v>
                </c:pt>
                <c:pt idx="39">
                  <c:v>1255</c:v>
                </c:pt>
                <c:pt idx="40">
                  <c:v>1236</c:v>
                </c:pt>
                <c:pt idx="41">
                  <c:v>1476</c:v>
                </c:pt>
                <c:pt idx="42">
                  <c:v>1768</c:v>
                </c:pt>
                <c:pt idx="43">
                  <c:v>2063</c:v>
                </c:pt>
                <c:pt idx="44">
                  <c:v>2403</c:v>
                </c:pt>
                <c:pt idx="45">
                  <c:v>2696</c:v>
                </c:pt>
                <c:pt idx="46">
                  <c:v>2840</c:v>
                </c:pt>
                <c:pt idx="47">
                  <c:v>2788</c:v>
                </c:pt>
                <c:pt idx="48">
                  <c:v>3096</c:v>
                </c:pt>
                <c:pt idx="49">
                  <c:v>3348</c:v>
                </c:pt>
                <c:pt idx="50">
                  <c:v>3844</c:v>
                </c:pt>
                <c:pt idx="51">
                  <c:v>4159</c:v>
                </c:pt>
                <c:pt idx="52">
                  <c:v>4705</c:v>
                </c:pt>
                <c:pt idx="53">
                  <c:v>4860</c:v>
                </c:pt>
                <c:pt idx="54">
                  <c:v>4867</c:v>
                </c:pt>
                <c:pt idx="55">
                  <c:v>5209</c:v>
                </c:pt>
                <c:pt idx="56">
                  <c:v>5708</c:v>
                </c:pt>
                <c:pt idx="57">
                  <c:v>5747</c:v>
                </c:pt>
                <c:pt idx="58">
                  <c:v>6580</c:v>
                </c:pt>
                <c:pt idx="59">
                  <c:v>7011</c:v>
                </c:pt>
                <c:pt idx="60">
                  <c:v>7014</c:v>
                </c:pt>
                <c:pt idx="61">
                  <c:v>6747</c:v>
                </c:pt>
                <c:pt idx="62">
                  <c:v>6825</c:v>
                </c:pt>
                <c:pt idx="63">
                  <c:v>6678</c:v>
                </c:pt>
                <c:pt idx="64">
                  <c:v>7077</c:v>
                </c:pt>
                <c:pt idx="65">
                  <c:v>7581</c:v>
                </c:pt>
                <c:pt idx="66">
                  <c:v>7257</c:v>
                </c:pt>
                <c:pt idx="67">
                  <c:v>6660</c:v>
                </c:pt>
                <c:pt idx="68">
                  <c:v>6479</c:v>
                </c:pt>
                <c:pt idx="69">
                  <c:v>6081</c:v>
                </c:pt>
                <c:pt idx="70">
                  <c:v>5820</c:v>
                </c:pt>
                <c:pt idx="71">
                  <c:v>6356</c:v>
                </c:pt>
                <c:pt idx="72">
                  <c:v>6860</c:v>
                </c:pt>
                <c:pt idx="73">
                  <c:v>6811</c:v>
                </c:pt>
                <c:pt idx="74">
                  <c:v>6269</c:v>
                </c:pt>
                <c:pt idx="75">
                  <c:v>5914</c:v>
                </c:pt>
                <c:pt idx="76">
                  <c:v>5883</c:v>
                </c:pt>
                <c:pt idx="77">
                  <c:v>5509</c:v>
                </c:pt>
                <c:pt idx="78">
                  <c:v>5798</c:v>
                </c:pt>
                <c:pt idx="79">
                  <c:v>6021</c:v>
                </c:pt>
                <c:pt idx="80">
                  <c:v>6022</c:v>
                </c:pt>
                <c:pt idx="81">
                  <c:v>5386</c:v>
                </c:pt>
                <c:pt idx="82">
                  <c:v>4926</c:v>
                </c:pt>
                <c:pt idx="83">
                  <c:v>5028</c:v>
                </c:pt>
                <c:pt idx="84">
                  <c:v>4681</c:v>
                </c:pt>
                <c:pt idx="85">
                  <c:v>4698</c:v>
                </c:pt>
                <c:pt idx="86">
                  <c:v>4813</c:v>
                </c:pt>
                <c:pt idx="87">
                  <c:v>4532</c:v>
                </c:pt>
                <c:pt idx="88">
                  <c:v>4463</c:v>
                </c:pt>
                <c:pt idx="89">
                  <c:v>4060</c:v>
                </c:pt>
                <c:pt idx="90">
                  <c:v>3934</c:v>
                </c:pt>
                <c:pt idx="91">
                  <c:v>3741</c:v>
                </c:pt>
                <c:pt idx="92">
                  <c:v>3819</c:v>
                </c:pt>
                <c:pt idx="93">
                  <c:v>3914</c:v>
                </c:pt>
                <c:pt idx="94">
                  <c:v>3738</c:v>
                </c:pt>
                <c:pt idx="95">
                  <c:v>3511</c:v>
                </c:pt>
                <c:pt idx="96">
                  <c:v>3285</c:v>
                </c:pt>
                <c:pt idx="97">
                  <c:v>3297</c:v>
                </c:pt>
                <c:pt idx="98">
                  <c:v>3140</c:v>
                </c:pt>
                <c:pt idx="99">
                  <c:v>3233</c:v>
                </c:pt>
                <c:pt idx="100">
                  <c:v>3329</c:v>
                </c:pt>
                <c:pt idx="101">
                  <c:v>3297</c:v>
                </c:pt>
                <c:pt idx="102">
                  <c:v>3133</c:v>
                </c:pt>
                <c:pt idx="103">
                  <c:v>3046</c:v>
                </c:pt>
                <c:pt idx="104">
                  <c:v>3089</c:v>
                </c:pt>
                <c:pt idx="105">
                  <c:v>3072</c:v>
                </c:pt>
                <c:pt idx="106">
                  <c:v>3142</c:v>
                </c:pt>
                <c:pt idx="107">
                  <c:v>3179</c:v>
                </c:pt>
                <c:pt idx="108">
                  <c:v>3180</c:v>
                </c:pt>
                <c:pt idx="109">
                  <c:v>2995</c:v>
                </c:pt>
                <c:pt idx="110">
                  <c:v>2878</c:v>
                </c:pt>
                <c:pt idx="111">
                  <c:v>3026</c:v>
                </c:pt>
                <c:pt idx="112">
                  <c:v>3085</c:v>
                </c:pt>
                <c:pt idx="113">
                  <c:v>3195</c:v>
                </c:pt>
                <c:pt idx="114">
                  <c:v>3176</c:v>
                </c:pt>
                <c:pt idx="115">
                  <c:v>3021</c:v>
                </c:pt>
                <c:pt idx="116">
                  <c:v>2952</c:v>
                </c:pt>
                <c:pt idx="117">
                  <c:v>2921</c:v>
                </c:pt>
                <c:pt idx="118">
                  <c:v>3079</c:v>
                </c:pt>
                <c:pt idx="119">
                  <c:v>3215</c:v>
                </c:pt>
                <c:pt idx="120">
                  <c:v>3389</c:v>
                </c:pt>
                <c:pt idx="121">
                  <c:v>3537</c:v>
                </c:pt>
                <c:pt idx="122">
                  <c:v>3308</c:v>
                </c:pt>
                <c:pt idx="123">
                  <c:v>3202</c:v>
                </c:pt>
                <c:pt idx="124">
                  <c:v>2970</c:v>
                </c:pt>
                <c:pt idx="125">
                  <c:v>3462</c:v>
                </c:pt>
                <c:pt idx="126">
                  <c:v>3671</c:v>
                </c:pt>
                <c:pt idx="127">
                  <c:v>3834</c:v>
                </c:pt>
                <c:pt idx="128">
                  <c:v>4037</c:v>
                </c:pt>
                <c:pt idx="129">
                  <c:v>3940</c:v>
                </c:pt>
                <c:pt idx="130">
                  <c:v>3692</c:v>
                </c:pt>
                <c:pt idx="131">
                  <c:v>3428</c:v>
                </c:pt>
                <c:pt idx="132">
                  <c:v>3714</c:v>
                </c:pt>
                <c:pt idx="133">
                  <c:v>3863</c:v>
                </c:pt>
                <c:pt idx="134">
                  <c:v>4039</c:v>
                </c:pt>
                <c:pt idx="135">
                  <c:v>4087</c:v>
                </c:pt>
                <c:pt idx="136">
                  <c:v>3860</c:v>
                </c:pt>
                <c:pt idx="137">
                  <c:v>3522</c:v>
                </c:pt>
                <c:pt idx="138">
                  <c:v>3257</c:v>
                </c:pt>
                <c:pt idx="139">
                  <c:v>3196</c:v>
                </c:pt>
                <c:pt idx="140">
                  <c:v>3033</c:v>
                </c:pt>
                <c:pt idx="141">
                  <c:v>3150</c:v>
                </c:pt>
                <c:pt idx="142">
                  <c:v>3248</c:v>
                </c:pt>
                <c:pt idx="143">
                  <c:v>3024</c:v>
                </c:pt>
                <c:pt idx="144">
                  <c:v>2882</c:v>
                </c:pt>
                <c:pt idx="145">
                  <c:v>2671</c:v>
                </c:pt>
                <c:pt idx="146">
                  <c:v>2644</c:v>
                </c:pt>
                <c:pt idx="147">
                  <c:v>2594</c:v>
                </c:pt>
                <c:pt idx="148">
                  <c:v>2674</c:v>
                </c:pt>
                <c:pt idx="149">
                  <c:v>2721</c:v>
                </c:pt>
                <c:pt idx="150">
                  <c:v>2494</c:v>
                </c:pt>
                <c:pt idx="151">
                  <c:v>2386</c:v>
                </c:pt>
                <c:pt idx="152">
                  <c:v>2171</c:v>
                </c:pt>
                <c:pt idx="153">
                  <c:v>2220</c:v>
                </c:pt>
                <c:pt idx="154">
                  <c:v>2232</c:v>
                </c:pt>
                <c:pt idx="155">
                  <c:v>2326</c:v>
                </c:pt>
                <c:pt idx="156">
                  <c:v>2375</c:v>
                </c:pt>
                <c:pt idx="157">
                  <c:v>2294</c:v>
                </c:pt>
                <c:pt idx="158">
                  <c:v>2163</c:v>
                </c:pt>
                <c:pt idx="159">
                  <c:v>2066</c:v>
                </c:pt>
                <c:pt idx="160">
                  <c:v>2105</c:v>
                </c:pt>
                <c:pt idx="161">
                  <c:v>2067</c:v>
                </c:pt>
                <c:pt idx="162">
                  <c:v>2124</c:v>
                </c:pt>
                <c:pt idx="163">
                  <c:v>2196</c:v>
                </c:pt>
                <c:pt idx="164">
                  <c:v>2123</c:v>
                </c:pt>
                <c:pt idx="165">
                  <c:v>1943</c:v>
                </c:pt>
                <c:pt idx="166">
                  <c:v>1800</c:v>
                </c:pt>
                <c:pt idx="167">
                  <c:v>1797</c:v>
                </c:pt>
                <c:pt idx="168">
                  <c:v>1703</c:v>
                </c:pt>
                <c:pt idx="169">
                  <c:v>1701</c:v>
                </c:pt>
                <c:pt idx="170">
                  <c:v>1730</c:v>
                </c:pt>
                <c:pt idx="171">
                  <c:v>1643</c:v>
                </c:pt>
                <c:pt idx="172">
                  <c:v>1542</c:v>
                </c:pt>
                <c:pt idx="173">
                  <c:v>1443</c:v>
                </c:pt>
                <c:pt idx="174">
                  <c:v>1518</c:v>
                </c:pt>
                <c:pt idx="175">
                  <c:v>1507</c:v>
                </c:pt>
                <c:pt idx="176">
                  <c:v>1532</c:v>
                </c:pt>
                <c:pt idx="177">
                  <c:v>1588</c:v>
                </c:pt>
                <c:pt idx="178">
                  <c:v>1554</c:v>
                </c:pt>
                <c:pt idx="179">
                  <c:v>1473</c:v>
                </c:pt>
                <c:pt idx="180">
                  <c:v>1419</c:v>
                </c:pt>
                <c:pt idx="181">
                  <c:v>1491</c:v>
                </c:pt>
                <c:pt idx="182">
                  <c:v>1450</c:v>
                </c:pt>
                <c:pt idx="183">
                  <c:v>1498</c:v>
                </c:pt>
                <c:pt idx="184">
                  <c:v>1518</c:v>
                </c:pt>
                <c:pt idx="185">
                  <c:v>1401</c:v>
                </c:pt>
                <c:pt idx="186">
                  <c:v>1321</c:v>
                </c:pt>
                <c:pt idx="187">
                  <c:v>1245</c:v>
                </c:pt>
                <c:pt idx="188">
                  <c:v>1259</c:v>
                </c:pt>
                <c:pt idx="189">
                  <c:v>1268</c:v>
                </c:pt>
                <c:pt idx="190">
                  <c:v>1329</c:v>
                </c:pt>
                <c:pt idx="191">
                  <c:v>1343</c:v>
                </c:pt>
                <c:pt idx="192">
                  <c:v>1380</c:v>
                </c:pt>
                <c:pt idx="193">
                  <c:v>1387</c:v>
                </c:pt>
                <c:pt idx="194">
                  <c:v>1393</c:v>
                </c:pt>
                <c:pt idx="195">
                  <c:v>1451</c:v>
                </c:pt>
                <c:pt idx="196">
                  <c:v>1349</c:v>
                </c:pt>
                <c:pt idx="197">
                  <c:v>1304</c:v>
                </c:pt>
                <c:pt idx="198">
                  <c:v>1253</c:v>
                </c:pt>
                <c:pt idx="199">
                  <c:v>1233</c:v>
                </c:pt>
                <c:pt idx="200">
                  <c:v>1180</c:v>
                </c:pt>
                <c:pt idx="201">
                  <c:v>1174</c:v>
                </c:pt>
                <c:pt idx="202">
                  <c:v>1204</c:v>
                </c:pt>
                <c:pt idx="203">
                  <c:v>1160</c:v>
                </c:pt>
                <c:pt idx="204">
                  <c:v>1100</c:v>
                </c:pt>
                <c:pt idx="205">
                  <c:v>1068</c:v>
                </c:pt>
                <c:pt idx="206">
                  <c:v>1038</c:v>
                </c:pt>
                <c:pt idx="207">
                  <c:v>981</c:v>
                </c:pt>
                <c:pt idx="208">
                  <c:v>972</c:v>
                </c:pt>
                <c:pt idx="209">
                  <c:v>991</c:v>
                </c:pt>
                <c:pt idx="210">
                  <c:v>945</c:v>
                </c:pt>
                <c:pt idx="211">
                  <c:v>909</c:v>
                </c:pt>
                <c:pt idx="212">
                  <c:v>885</c:v>
                </c:pt>
                <c:pt idx="213">
                  <c:v>831</c:v>
                </c:pt>
                <c:pt idx="214">
                  <c:v>805</c:v>
                </c:pt>
                <c:pt idx="215">
                  <c:v>803</c:v>
                </c:pt>
                <c:pt idx="216">
                  <c:v>804</c:v>
                </c:pt>
                <c:pt idx="217">
                  <c:v>760</c:v>
                </c:pt>
                <c:pt idx="218">
                  <c:v>749</c:v>
                </c:pt>
                <c:pt idx="219">
                  <c:v>732</c:v>
                </c:pt>
                <c:pt idx="220">
                  <c:v>697</c:v>
                </c:pt>
                <c:pt idx="221">
                  <c:v>678</c:v>
                </c:pt>
                <c:pt idx="222">
                  <c:v>673</c:v>
                </c:pt>
                <c:pt idx="223">
                  <c:v>678</c:v>
                </c:pt>
                <c:pt idx="224">
                  <c:v>643</c:v>
                </c:pt>
                <c:pt idx="225">
                  <c:v>614</c:v>
                </c:pt>
                <c:pt idx="226">
                  <c:v>598</c:v>
                </c:pt>
                <c:pt idx="227">
                  <c:v>580</c:v>
                </c:pt>
                <c:pt idx="228">
                  <c:v>577</c:v>
                </c:pt>
                <c:pt idx="229">
                  <c:v>575</c:v>
                </c:pt>
                <c:pt idx="230">
                  <c:v>587</c:v>
                </c:pt>
                <c:pt idx="231">
                  <c:v>575</c:v>
                </c:pt>
                <c:pt idx="232">
                  <c:v>545</c:v>
                </c:pt>
                <c:pt idx="233">
                  <c:v>526</c:v>
                </c:pt>
                <c:pt idx="234">
                  <c:v>520</c:v>
                </c:pt>
                <c:pt idx="235">
                  <c:v>507</c:v>
                </c:pt>
                <c:pt idx="236">
                  <c:v>504</c:v>
                </c:pt>
                <c:pt idx="237">
                  <c:v>509</c:v>
                </c:pt>
                <c:pt idx="238">
                  <c:v>504</c:v>
                </c:pt>
                <c:pt idx="239">
                  <c:v>498</c:v>
                </c:pt>
                <c:pt idx="240">
                  <c:v>493</c:v>
                </c:pt>
                <c:pt idx="241">
                  <c:v>490</c:v>
                </c:pt>
                <c:pt idx="242">
                  <c:v>481</c:v>
                </c:pt>
                <c:pt idx="243">
                  <c:v>480</c:v>
                </c:pt>
                <c:pt idx="244">
                  <c:v>482</c:v>
                </c:pt>
                <c:pt idx="245">
                  <c:v>468</c:v>
                </c:pt>
                <c:pt idx="246">
                  <c:v>460</c:v>
                </c:pt>
                <c:pt idx="247">
                  <c:v>455</c:v>
                </c:pt>
                <c:pt idx="248">
                  <c:v>452</c:v>
                </c:pt>
                <c:pt idx="249">
                  <c:v>441</c:v>
                </c:pt>
                <c:pt idx="250">
                  <c:v>442</c:v>
                </c:pt>
                <c:pt idx="251">
                  <c:v>447</c:v>
                </c:pt>
                <c:pt idx="252">
                  <c:v>443</c:v>
                </c:pt>
                <c:pt idx="253">
                  <c:v>436</c:v>
                </c:pt>
                <c:pt idx="254">
                  <c:v>435</c:v>
                </c:pt>
                <c:pt idx="255">
                  <c:v>434</c:v>
                </c:pt>
                <c:pt idx="256">
                  <c:v>429</c:v>
                </c:pt>
                <c:pt idx="257">
                  <c:v>428</c:v>
                </c:pt>
                <c:pt idx="258">
                  <c:v>432</c:v>
                </c:pt>
                <c:pt idx="259">
                  <c:v>429</c:v>
                </c:pt>
                <c:pt idx="260">
                  <c:v>428</c:v>
                </c:pt>
                <c:pt idx="261">
                  <c:v>426</c:v>
                </c:pt>
                <c:pt idx="262">
                  <c:v>425</c:v>
                </c:pt>
                <c:pt idx="263">
                  <c:v>421</c:v>
                </c:pt>
                <c:pt idx="264">
                  <c:v>420</c:v>
                </c:pt>
                <c:pt idx="265">
                  <c:v>423</c:v>
                </c:pt>
                <c:pt idx="266">
                  <c:v>420</c:v>
                </c:pt>
                <c:pt idx="267">
                  <c:v>416</c:v>
                </c:pt>
                <c:pt idx="268">
                  <c:v>413</c:v>
                </c:pt>
                <c:pt idx="269">
                  <c:v>410</c:v>
                </c:pt>
                <c:pt idx="270">
                  <c:v>408</c:v>
                </c:pt>
                <c:pt idx="271">
                  <c:v>405</c:v>
                </c:pt>
                <c:pt idx="272">
                  <c:v>403</c:v>
                </c:pt>
                <c:pt idx="273">
                  <c:v>399</c:v>
                </c:pt>
                <c:pt idx="274">
                  <c:v>399</c:v>
                </c:pt>
                <c:pt idx="275">
                  <c:v>394</c:v>
                </c:pt>
                <c:pt idx="276">
                  <c:v>389</c:v>
                </c:pt>
                <c:pt idx="277">
                  <c:v>388</c:v>
                </c:pt>
                <c:pt idx="278">
                  <c:v>388</c:v>
                </c:pt>
                <c:pt idx="279">
                  <c:v>387</c:v>
                </c:pt>
                <c:pt idx="280">
                  <c:v>385</c:v>
                </c:pt>
                <c:pt idx="281">
                  <c:v>382</c:v>
                </c:pt>
                <c:pt idx="282">
                  <c:v>381</c:v>
                </c:pt>
                <c:pt idx="283">
                  <c:v>382</c:v>
                </c:pt>
                <c:pt idx="284">
                  <c:v>379</c:v>
                </c:pt>
                <c:pt idx="285">
                  <c:v>379</c:v>
                </c:pt>
                <c:pt idx="286">
                  <c:v>379</c:v>
                </c:pt>
                <c:pt idx="287">
                  <c:v>379</c:v>
                </c:pt>
                <c:pt idx="288">
                  <c:v>379</c:v>
                </c:pt>
                <c:pt idx="289">
                  <c:v>378</c:v>
                </c:pt>
                <c:pt idx="290">
                  <c:v>378</c:v>
                </c:pt>
                <c:pt idx="291">
                  <c:v>378</c:v>
                </c:pt>
                <c:pt idx="292">
                  <c:v>378</c:v>
                </c:pt>
                <c:pt idx="293">
                  <c:v>378</c:v>
                </c:pt>
                <c:pt idx="294">
                  <c:v>378</c:v>
                </c:pt>
                <c:pt idx="295">
                  <c:v>379</c:v>
                </c:pt>
                <c:pt idx="296">
                  <c:v>379</c:v>
                </c:pt>
                <c:pt idx="297">
                  <c:v>377</c:v>
                </c:pt>
                <c:pt idx="298">
                  <c:v>377</c:v>
                </c:pt>
                <c:pt idx="299">
                  <c:v>377</c:v>
                </c:pt>
                <c:pt idx="300">
                  <c:v>377</c:v>
                </c:pt>
                <c:pt idx="301">
                  <c:v>377</c:v>
                </c:pt>
                <c:pt idx="302">
                  <c:v>377</c:v>
                </c:pt>
                <c:pt idx="303">
                  <c:v>378</c:v>
                </c:pt>
                <c:pt idx="304">
                  <c:v>376</c:v>
                </c:pt>
                <c:pt idx="305">
                  <c:v>376</c:v>
                </c:pt>
                <c:pt idx="306">
                  <c:v>377</c:v>
                </c:pt>
                <c:pt idx="307">
                  <c:v>377</c:v>
                </c:pt>
                <c:pt idx="308">
                  <c:v>377</c:v>
                </c:pt>
                <c:pt idx="309">
                  <c:v>377</c:v>
                </c:pt>
                <c:pt idx="310">
                  <c:v>376</c:v>
                </c:pt>
                <c:pt idx="311">
                  <c:v>376</c:v>
                </c:pt>
                <c:pt idx="312">
                  <c:v>376</c:v>
                </c:pt>
                <c:pt idx="313">
                  <c:v>377</c:v>
                </c:pt>
                <c:pt idx="314">
                  <c:v>377</c:v>
                </c:pt>
                <c:pt idx="315">
                  <c:v>377</c:v>
                </c:pt>
                <c:pt idx="316">
                  <c:v>377</c:v>
                </c:pt>
                <c:pt idx="317">
                  <c:v>377</c:v>
                </c:pt>
                <c:pt idx="318">
                  <c:v>376</c:v>
                </c:pt>
                <c:pt idx="319">
                  <c:v>376</c:v>
                </c:pt>
                <c:pt idx="320">
                  <c:v>376</c:v>
                </c:pt>
                <c:pt idx="321">
                  <c:v>376</c:v>
                </c:pt>
                <c:pt idx="322">
                  <c:v>375</c:v>
                </c:pt>
                <c:pt idx="323">
                  <c:v>376</c:v>
                </c:pt>
                <c:pt idx="324">
                  <c:v>375</c:v>
                </c:pt>
                <c:pt idx="325">
                  <c:v>375</c:v>
                </c:pt>
                <c:pt idx="326">
                  <c:v>375</c:v>
                </c:pt>
                <c:pt idx="327">
                  <c:v>374</c:v>
                </c:pt>
                <c:pt idx="328">
                  <c:v>373</c:v>
                </c:pt>
                <c:pt idx="329">
                  <c:v>374</c:v>
                </c:pt>
                <c:pt idx="330">
                  <c:v>375</c:v>
                </c:pt>
                <c:pt idx="331">
                  <c:v>375</c:v>
                </c:pt>
                <c:pt idx="332">
                  <c:v>374</c:v>
                </c:pt>
                <c:pt idx="333">
                  <c:v>374</c:v>
                </c:pt>
                <c:pt idx="334">
                  <c:v>374</c:v>
                </c:pt>
                <c:pt idx="335">
                  <c:v>374</c:v>
                </c:pt>
                <c:pt idx="336">
                  <c:v>373</c:v>
                </c:pt>
                <c:pt idx="337">
                  <c:v>373</c:v>
                </c:pt>
                <c:pt idx="338">
                  <c:v>372</c:v>
                </c:pt>
                <c:pt idx="339">
                  <c:v>372</c:v>
                </c:pt>
                <c:pt idx="340">
                  <c:v>372</c:v>
                </c:pt>
                <c:pt idx="341">
                  <c:v>373</c:v>
                </c:pt>
                <c:pt idx="342">
                  <c:v>373</c:v>
                </c:pt>
                <c:pt idx="343">
                  <c:v>372</c:v>
                </c:pt>
                <c:pt idx="344">
                  <c:v>372</c:v>
                </c:pt>
                <c:pt idx="345">
                  <c:v>372</c:v>
                </c:pt>
                <c:pt idx="346">
                  <c:v>372</c:v>
                </c:pt>
                <c:pt idx="347">
                  <c:v>372</c:v>
                </c:pt>
                <c:pt idx="348">
                  <c:v>372</c:v>
                </c:pt>
                <c:pt idx="349">
                  <c:v>373</c:v>
                </c:pt>
                <c:pt idx="350">
                  <c:v>373</c:v>
                </c:pt>
                <c:pt idx="351">
                  <c:v>373</c:v>
                </c:pt>
                <c:pt idx="352">
                  <c:v>374</c:v>
                </c:pt>
                <c:pt idx="353">
                  <c:v>373</c:v>
                </c:pt>
                <c:pt idx="354">
                  <c:v>373</c:v>
                </c:pt>
                <c:pt idx="355">
                  <c:v>373</c:v>
                </c:pt>
                <c:pt idx="356">
                  <c:v>376</c:v>
                </c:pt>
                <c:pt idx="357">
                  <c:v>376</c:v>
                </c:pt>
                <c:pt idx="358">
                  <c:v>376</c:v>
                </c:pt>
                <c:pt idx="359">
                  <c:v>376</c:v>
                </c:pt>
                <c:pt idx="360">
                  <c:v>377</c:v>
                </c:pt>
                <c:pt idx="361">
                  <c:v>376</c:v>
                </c:pt>
                <c:pt idx="362">
                  <c:v>376</c:v>
                </c:pt>
                <c:pt idx="363">
                  <c:v>376</c:v>
                </c:pt>
                <c:pt idx="364">
                  <c:v>376</c:v>
                </c:pt>
                <c:pt idx="365">
                  <c:v>380</c:v>
                </c:pt>
                <c:pt idx="366">
                  <c:v>385</c:v>
                </c:pt>
                <c:pt idx="367">
                  <c:v>388</c:v>
                </c:pt>
                <c:pt idx="368">
                  <c:v>389</c:v>
                </c:pt>
                <c:pt idx="369">
                  <c:v>388</c:v>
                </c:pt>
                <c:pt idx="370">
                  <c:v>393</c:v>
                </c:pt>
                <c:pt idx="371">
                  <c:v>391</c:v>
                </c:pt>
                <c:pt idx="372">
                  <c:v>392</c:v>
                </c:pt>
                <c:pt idx="373">
                  <c:v>393</c:v>
                </c:pt>
                <c:pt idx="374">
                  <c:v>393</c:v>
                </c:pt>
                <c:pt idx="375">
                  <c:v>392</c:v>
                </c:pt>
                <c:pt idx="376">
                  <c:v>391</c:v>
                </c:pt>
                <c:pt idx="377">
                  <c:v>392</c:v>
                </c:pt>
                <c:pt idx="378">
                  <c:v>393</c:v>
                </c:pt>
                <c:pt idx="379">
                  <c:v>392</c:v>
                </c:pt>
                <c:pt idx="380">
                  <c:v>391</c:v>
                </c:pt>
                <c:pt idx="381">
                  <c:v>388</c:v>
                </c:pt>
                <c:pt idx="382">
                  <c:v>386</c:v>
                </c:pt>
                <c:pt idx="383">
                  <c:v>386</c:v>
                </c:pt>
                <c:pt idx="384">
                  <c:v>391</c:v>
                </c:pt>
                <c:pt idx="385">
                  <c:v>391</c:v>
                </c:pt>
                <c:pt idx="386">
                  <c:v>391</c:v>
                </c:pt>
                <c:pt idx="387">
                  <c:v>389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7</c:v>
                </c:pt>
                <c:pt idx="392">
                  <c:v>397</c:v>
                </c:pt>
                <c:pt idx="393">
                  <c:v>403</c:v>
                </c:pt>
                <c:pt idx="394">
                  <c:v>404</c:v>
                </c:pt>
                <c:pt idx="395">
                  <c:v>406</c:v>
                </c:pt>
                <c:pt idx="396">
                  <c:v>406</c:v>
                </c:pt>
                <c:pt idx="397">
                  <c:v>406</c:v>
                </c:pt>
                <c:pt idx="398">
                  <c:v>410</c:v>
                </c:pt>
                <c:pt idx="399">
                  <c:v>414</c:v>
                </c:pt>
                <c:pt idx="400">
                  <c:v>422</c:v>
                </c:pt>
                <c:pt idx="401">
                  <c:v>422</c:v>
                </c:pt>
                <c:pt idx="402">
                  <c:v>448</c:v>
                </c:pt>
                <c:pt idx="403">
                  <c:v>449</c:v>
                </c:pt>
                <c:pt idx="404">
                  <c:v>447</c:v>
                </c:pt>
                <c:pt idx="405">
                  <c:v>450</c:v>
                </c:pt>
                <c:pt idx="406">
                  <c:v>446</c:v>
                </c:pt>
                <c:pt idx="407">
                  <c:v>465</c:v>
                </c:pt>
                <c:pt idx="408">
                  <c:v>463</c:v>
                </c:pt>
                <c:pt idx="409">
                  <c:v>468</c:v>
                </c:pt>
                <c:pt idx="410">
                  <c:v>468</c:v>
                </c:pt>
                <c:pt idx="411">
                  <c:v>468</c:v>
                </c:pt>
                <c:pt idx="412">
                  <c:v>484</c:v>
                </c:pt>
                <c:pt idx="413">
                  <c:v>488</c:v>
                </c:pt>
                <c:pt idx="414">
                  <c:v>491</c:v>
                </c:pt>
                <c:pt idx="415">
                  <c:v>494</c:v>
                </c:pt>
                <c:pt idx="416">
                  <c:v>483</c:v>
                </c:pt>
                <c:pt idx="417">
                  <c:v>478</c:v>
                </c:pt>
                <c:pt idx="418">
                  <c:v>479</c:v>
                </c:pt>
                <c:pt idx="419">
                  <c:v>510</c:v>
                </c:pt>
                <c:pt idx="420">
                  <c:v>520</c:v>
                </c:pt>
                <c:pt idx="421">
                  <c:v>542</c:v>
                </c:pt>
                <c:pt idx="422">
                  <c:v>527</c:v>
                </c:pt>
                <c:pt idx="423">
                  <c:v>550</c:v>
                </c:pt>
                <c:pt idx="424">
                  <c:v>553</c:v>
                </c:pt>
                <c:pt idx="425">
                  <c:v>563</c:v>
                </c:pt>
                <c:pt idx="426">
                  <c:v>639</c:v>
                </c:pt>
                <c:pt idx="427">
                  <c:v>659</c:v>
                </c:pt>
                <c:pt idx="428">
                  <c:v>676</c:v>
                </c:pt>
                <c:pt idx="429">
                  <c:v>736</c:v>
                </c:pt>
                <c:pt idx="430">
                  <c:v>773</c:v>
                </c:pt>
                <c:pt idx="431">
                  <c:v>774</c:v>
                </c:pt>
                <c:pt idx="432">
                  <c:v>775</c:v>
                </c:pt>
                <c:pt idx="433">
                  <c:v>845</c:v>
                </c:pt>
                <c:pt idx="434">
                  <c:v>872</c:v>
                </c:pt>
                <c:pt idx="435">
                  <c:v>888</c:v>
                </c:pt>
                <c:pt idx="436">
                  <c:v>923</c:v>
                </c:pt>
                <c:pt idx="437">
                  <c:v>964</c:v>
                </c:pt>
                <c:pt idx="438">
                  <c:v>969</c:v>
                </c:pt>
                <c:pt idx="439">
                  <c:v>980</c:v>
                </c:pt>
                <c:pt idx="440">
                  <c:v>1057</c:v>
                </c:pt>
                <c:pt idx="441">
                  <c:v>1055</c:v>
                </c:pt>
                <c:pt idx="442">
                  <c:v>1040</c:v>
                </c:pt>
                <c:pt idx="443">
                  <c:v>1088</c:v>
                </c:pt>
                <c:pt idx="444">
                  <c:v>1167</c:v>
                </c:pt>
                <c:pt idx="445">
                  <c:v>1157</c:v>
                </c:pt>
                <c:pt idx="446">
                  <c:v>1151</c:v>
                </c:pt>
                <c:pt idx="447">
                  <c:v>1250</c:v>
                </c:pt>
                <c:pt idx="448">
                  <c:v>1240</c:v>
                </c:pt>
                <c:pt idx="449">
                  <c:v>1255</c:v>
                </c:pt>
                <c:pt idx="450">
                  <c:v>1257</c:v>
                </c:pt>
                <c:pt idx="451">
                  <c:v>1296</c:v>
                </c:pt>
                <c:pt idx="452">
                  <c:v>1269</c:v>
                </c:pt>
                <c:pt idx="453">
                  <c:v>1259</c:v>
                </c:pt>
                <c:pt idx="454">
                  <c:v>1322</c:v>
                </c:pt>
                <c:pt idx="455">
                  <c:v>1282</c:v>
                </c:pt>
                <c:pt idx="456">
                  <c:v>1245</c:v>
                </c:pt>
                <c:pt idx="457">
                  <c:v>1261</c:v>
                </c:pt>
                <c:pt idx="458">
                  <c:v>1115</c:v>
                </c:pt>
                <c:pt idx="459">
                  <c:v>1101</c:v>
                </c:pt>
                <c:pt idx="460">
                  <c:v>1071</c:v>
                </c:pt>
                <c:pt idx="461">
                  <c:v>1123</c:v>
                </c:pt>
                <c:pt idx="462">
                  <c:v>1062</c:v>
                </c:pt>
                <c:pt idx="463">
                  <c:v>1030</c:v>
                </c:pt>
                <c:pt idx="464">
                  <c:v>982</c:v>
                </c:pt>
                <c:pt idx="465">
                  <c:v>920</c:v>
                </c:pt>
                <c:pt idx="466">
                  <c:v>872</c:v>
                </c:pt>
                <c:pt idx="467">
                  <c:v>862</c:v>
                </c:pt>
                <c:pt idx="468">
                  <c:v>888</c:v>
                </c:pt>
                <c:pt idx="469">
                  <c:v>844</c:v>
                </c:pt>
                <c:pt idx="470">
                  <c:v>803</c:v>
                </c:pt>
                <c:pt idx="471">
                  <c:v>757</c:v>
                </c:pt>
                <c:pt idx="472">
                  <c:v>716</c:v>
                </c:pt>
                <c:pt idx="473">
                  <c:v>623</c:v>
                </c:pt>
                <c:pt idx="474">
                  <c:v>618</c:v>
                </c:pt>
                <c:pt idx="475">
                  <c:v>639</c:v>
                </c:pt>
                <c:pt idx="476">
                  <c:v>562</c:v>
                </c:pt>
                <c:pt idx="477">
                  <c:v>506</c:v>
                </c:pt>
                <c:pt idx="478">
                  <c:v>448</c:v>
                </c:pt>
                <c:pt idx="479">
                  <c:v>410</c:v>
                </c:pt>
                <c:pt idx="480">
                  <c:v>374</c:v>
                </c:pt>
                <c:pt idx="481">
                  <c:v>361</c:v>
                </c:pt>
                <c:pt idx="482">
                  <c:v>366</c:v>
                </c:pt>
                <c:pt idx="483">
                  <c:v>331</c:v>
                </c:pt>
                <c:pt idx="484">
                  <c:v>294</c:v>
                </c:pt>
                <c:pt idx="485">
                  <c:v>277</c:v>
                </c:pt>
                <c:pt idx="486">
                  <c:v>259</c:v>
                </c:pt>
                <c:pt idx="487">
                  <c:v>229</c:v>
                </c:pt>
                <c:pt idx="488">
                  <c:v>214</c:v>
                </c:pt>
                <c:pt idx="489">
                  <c:v>219</c:v>
                </c:pt>
                <c:pt idx="490">
                  <c:v>194</c:v>
                </c:pt>
                <c:pt idx="491">
                  <c:v>192</c:v>
                </c:pt>
                <c:pt idx="492">
                  <c:v>198</c:v>
                </c:pt>
                <c:pt idx="493">
                  <c:v>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C$2:$C$104</c:f>
              <c:numCache>
                <c:formatCode>General</c:formatCode>
                <c:ptCount val="1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3</c:v>
                </c:pt>
                <c:pt idx="38">
                  <c:v>1</c:v>
                </c:pt>
                <c:pt idx="39">
                  <c:v>3</c:v>
                </c:pt>
                <c:pt idx="40">
                  <c:v>0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5</c:v>
                </c:pt>
                <c:pt idx="51">
                  <c:v>3</c:v>
                </c:pt>
                <c:pt idx="52">
                  <c:v>4</c:v>
                </c:pt>
                <c:pt idx="53">
                  <c:v>6</c:v>
                </c:pt>
                <c:pt idx="54">
                  <c:v>3</c:v>
                </c:pt>
                <c:pt idx="55">
                  <c:v>11</c:v>
                </c:pt>
                <c:pt idx="56">
                  <c:v>11</c:v>
                </c:pt>
                <c:pt idx="57">
                  <c:v>16</c:v>
                </c:pt>
                <c:pt idx="58">
                  <c:v>9</c:v>
                </c:pt>
                <c:pt idx="59">
                  <c:v>16</c:v>
                </c:pt>
                <c:pt idx="60">
                  <c:v>20</c:v>
                </c:pt>
                <c:pt idx="61">
                  <c:v>20</c:v>
                </c:pt>
                <c:pt idx="62">
                  <c:v>23</c:v>
                </c:pt>
                <c:pt idx="63">
                  <c:v>31</c:v>
                </c:pt>
                <c:pt idx="64">
                  <c:v>29</c:v>
                </c:pt>
                <c:pt idx="65">
                  <c:v>41</c:v>
                </c:pt>
                <c:pt idx="66">
                  <c:v>47</c:v>
                </c:pt>
                <c:pt idx="67">
                  <c:v>34</c:v>
                </c:pt>
                <c:pt idx="68">
                  <c:v>54</c:v>
                </c:pt>
                <c:pt idx="69">
                  <c:v>62</c:v>
                </c:pt>
                <c:pt idx="70">
                  <c:v>79</c:v>
                </c:pt>
                <c:pt idx="71">
                  <c:v>66</c:v>
                </c:pt>
                <c:pt idx="72">
                  <c:v>85</c:v>
                </c:pt>
                <c:pt idx="73">
                  <c:v>85</c:v>
                </c:pt>
                <c:pt idx="74">
                  <c:v>101</c:v>
                </c:pt>
                <c:pt idx="75">
                  <c:v>109</c:v>
                </c:pt>
                <c:pt idx="76">
                  <c:v>113</c:v>
                </c:pt>
                <c:pt idx="77">
                  <c:v>126</c:v>
                </c:pt>
                <c:pt idx="78">
                  <c:v>109</c:v>
                </c:pt>
                <c:pt idx="79">
                  <c:v>131</c:v>
                </c:pt>
                <c:pt idx="80">
                  <c:v>140</c:v>
                </c:pt>
                <c:pt idx="81">
                  <c:v>155</c:v>
                </c:pt>
                <c:pt idx="82">
                  <c:v>182</c:v>
                </c:pt>
                <c:pt idx="83">
                  <c:v>159</c:v>
                </c:pt>
                <c:pt idx="84">
                  <c:v>196</c:v>
                </c:pt>
                <c:pt idx="85">
                  <c:v>198</c:v>
                </c:pt>
                <c:pt idx="86">
                  <c:v>177</c:v>
                </c:pt>
                <c:pt idx="87">
                  <c:v>180</c:v>
                </c:pt>
                <c:pt idx="88">
                  <c:v>154</c:v>
                </c:pt>
                <c:pt idx="89">
                  <c:v>103</c:v>
                </c:pt>
                <c:pt idx="90">
                  <c:v>90</c:v>
                </c:pt>
                <c:pt idx="91">
                  <c:v>63</c:v>
                </c:pt>
                <c:pt idx="92">
                  <c:v>59</c:v>
                </c:pt>
                <c:pt idx="93">
                  <c:v>50</c:v>
                </c:pt>
                <c:pt idx="94">
                  <c:v>28</c:v>
                </c:pt>
                <c:pt idx="95">
                  <c:v>22</c:v>
                </c:pt>
                <c:pt idx="96">
                  <c:v>9</c:v>
                </c:pt>
                <c:pt idx="97">
                  <c:v>5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B$2:$B$104</c:f>
              <c:numCache>
                <c:formatCode>General</c:formatCode>
                <c:ptCount val="103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10</c:v>
                </c:pt>
                <c:pt idx="6">
                  <c:v>3</c:v>
                </c:pt>
                <c:pt idx="7">
                  <c:v>14</c:v>
                </c:pt>
                <c:pt idx="8">
                  <c:v>12</c:v>
                </c:pt>
                <c:pt idx="9">
                  <c:v>19</c:v>
                </c:pt>
                <c:pt idx="10">
                  <c:v>18</c:v>
                </c:pt>
                <c:pt idx="11">
                  <c:v>12</c:v>
                </c:pt>
                <c:pt idx="12">
                  <c:v>29</c:v>
                </c:pt>
                <c:pt idx="13">
                  <c:v>14</c:v>
                </c:pt>
                <c:pt idx="14">
                  <c:v>22</c:v>
                </c:pt>
                <c:pt idx="15">
                  <c:v>22</c:v>
                </c:pt>
                <c:pt idx="16">
                  <c:v>33</c:v>
                </c:pt>
                <c:pt idx="17">
                  <c:v>25</c:v>
                </c:pt>
                <c:pt idx="18">
                  <c:v>24</c:v>
                </c:pt>
                <c:pt idx="19">
                  <c:v>35</c:v>
                </c:pt>
                <c:pt idx="20">
                  <c:v>44</c:v>
                </c:pt>
                <c:pt idx="21">
                  <c:v>50</c:v>
                </c:pt>
                <c:pt idx="22">
                  <c:v>57</c:v>
                </c:pt>
                <c:pt idx="23">
                  <c:v>54</c:v>
                </c:pt>
                <c:pt idx="24">
                  <c:v>72</c:v>
                </c:pt>
                <c:pt idx="25">
                  <c:v>61</c:v>
                </c:pt>
                <c:pt idx="26">
                  <c:v>70</c:v>
                </c:pt>
                <c:pt idx="27">
                  <c:v>78</c:v>
                </c:pt>
                <c:pt idx="28">
                  <c:v>76</c:v>
                </c:pt>
                <c:pt idx="29">
                  <c:v>81</c:v>
                </c:pt>
                <c:pt idx="30">
                  <c:v>94</c:v>
                </c:pt>
                <c:pt idx="31">
                  <c:v>84</c:v>
                </c:pt>
                <c:pt idx="32">
                  <c:v>78</c:v>
                </c:pt>
                <c:pt idx="33">
                  <c:v>91</c:v>
                </c:pt>
                <c:pt idx="34">
                  <c:v>120</c:v>
                </c:pt>
                <c:pt idx="35">
                  <c:v>101</c:v>
                </c:pt>
                <c:pt idx="36">
                  <c:v>124</c:v>
                </c:pt>
                <c:pt idx="37">
                  <c:v>141</c:v>
                </c:pt>
                <c:pt idx="38">
                  <c:v>125</c:v>
                </c:pt>
                <c:pt idx="39">
                  <c:v>129</c:v>
                </c:pt>
                <c:pt idx="40">
                  <c:v>147</c:v>
                </c:pt>
                <c:pt idx="41">
                  <c:v>145</c:v>
                </c:pt>
                <c:pt idx="42">
                  <c:v>145</c:v>
                </c:pt>
                <c:pt idx="43">
                  <c:v>149</c:v>
                </c:pt>
                <c:pt idx="44">
                  <c:v>128</c:v>
                </c:pt>
                <c:pt idx="45">
                  <c:v>134</c:v>
                </c:pt>
                <c:pt idx="46">
                  <c:v>134</c:v>
                </c:pt>
                <c:pt idx="47">
                  <c:v>162</c:v>
                </c:pt>
                <c:pt idx="48">
                  <c:v>123</c:v>
                </c:pt>
                <c:pt idx="49">
                  <c:v>140</c:v>
                </c:pt>
                <c:pt idx="50">
                  <c:v>161</c:v>
                </c:pt>
                <c:pt idx="51">
                  <c:v>182</c:v>
                </c:pt>
                <c:pt idx="52">
                  <c:v>167</c:v>
                </c:pt>
                <c:pt idx="53">
                  <c:v>163</c:v>
                </c:pt>
                <c:pt idx="54">
                  <c:v>143</c:v>
                </c:pt>
                <c:pt idx="55">
                  <c:v>184</c:v>
                </c:pt>
                <c:pt idx="56">
                  <c:v>205</c:v>
                </c:pt>
                <c:pt idx="57">
                  <c:v>209</c:v>
                </c:pt>
                <c:pt idx="58">
                  <c:v>217</c:v>
                </c:pt>
                <c:pt idx="59">
                  <c:v>256</c:v>
                </c:pt>
                <c:pt idx="60">
                  <c:v>294</c:v>
                </c:pt>
                <c:pt idx="61">
                  <c:v>277</c:v>
                </c:pt>
                <c:pt idx="62">
                  <c:v>306</c:v>
                </c:pt>
                <c:pt idx="63">
                  <c:v>323</c:v>
                </c:pt>
                <c:pt idx="64">
                  <c:v>344</c:v>
                </c:pt>
                <c:pt idx="65">
                  <c:v>422</c:v>
                </c:pt>
                <c:pt idx="66">
                  <c:v>432</c:v>
                </c:pt>
                <c:pt idx="67">
                  <c:v>437</c:v>
                </c:pt>
                <c:pt idx="68">
                  <c:v>535</c:v>
                </c:pt>
                <c:pt idx="69">
                  <c:v>574</c:v>
                </c:pt>
                <c:pt idx="70">
                  <c:v>604</c:v>
                </c:pt>
                <c:pt idx="71">
                  <c:v>554</c:v>
                </c:pt>
                <c:pt idx="72">
                  <c:v>706</c:v>
                </c:pt>
                <c:pt idx="73">
                  <c:v>716</c:v>
                </c:pt>
                <c:pt idx="74">
                  <c:v>756</c:v>
                </c:pt>
                <c:pt idx="75">
                  <c:v>818</c:v>
                </c:pt>
                <c:pt idx="76">
                  <c:v>872</c:v>
                </c:pt>
                <c:pt idx="77">
                  <c:v>866</c:v>
                </c:pt>
                <c:pt idx="78">
                  <c:v>897</c:v>
                </c:pt>
                <c:pt idx="79">
                  <c:v>1003</c:v>
                </c:pt>
                <c:pt idx="80">
                  <c:v>968</c:v>
                </c:pt>
                <c:pt idx="81">
                  <c:v>1118</c:v>
                </c:pt>
                <c:pt idx="82">
                  <c:v>1153</c:v>
                </c:pt>
                <c:pt idx="83">
                  <c:v>1173</c:v>
                </c:pt>
                <c:pt idx="84">
                  <c:v>1258</c:v>
                </c:pt>
                <c:pt idx="85">
                  <c:v>1189</c:v>
                </c:pt>
                <c:pt idx="86">
                  <c:v>1166</c:v>
                </c:pt>
                <c:pt idx="87">
                  <c:v>1009</c:v>
                </c:pt>
                <c:pt idx="88">
                  <c:v>895</c:v>
                </c:pt>
                <c:pt idx="89">
                  <c:v>732</c:v>
                </c:pt>
                <c:pt idx="90">
                  <c:v>519</c:v>
                </c:pt>
                <c:pt idx="91">
                  <c:v>407</c:v>
                </c:pt>
                <c:pt idx="92">
                  <c:v>309</c:v>
                </c:pt>
                <c:pt idx="93">
                  <c:v>231</c:v>
                </c:pt>
                <c:pt idx="94">
                  <c:v>149</c:v>
                </c:pt>
                <c:pt idx="95">
                  <c:v>89</c:v>
                </c:pt>
                <c:pt idx="96">
                  <c:v>44</c:v>
                </c:pt>
                <c:pt idx="97">
                  <c:v>28</c:v>
                </c:pt>
                <c:pt idx="98">
                  <c:v>7</c:v>
                </c:pt>
                <c:pt idx="99">
                  <c:v>5</c:v>
                </c:pt>
                <c:pt idx="100">
                  <c:v>3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5</c:f>
              <c:numCache>
                <c:formatCode>m/d/yyyy</c:formatCode>
                <c:ptCount val="49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</c:numCache>
            </c:numRef>
          </c:cat>
          <c:val>
            <c:numRef>
              <c:f>Sheet1!$B$2:$B$495</c:f>
              <c:numCache>
                <c:formatCode>#\ ##0_ ;\-#\ ##0\ </c:formatCode>
                <c:ptCount val="494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2</c:v>
                </c:pt>
                <c:pt idx="32">
                  <c:v>36</c:v>
                </c:pt>
                <c:pt idx="33">
                  <c:v>54</c:v>
                </c:pt>
                <c:pt idx="34">
                  <c:v>167</c:v>
                </c:pt>
                <c:pt idx="35">
                  <c:v>82</c:v>
                </c:pt>
                <c:pt idx="36">
                  <c:v>45</c:v>
                </c:pt>
                <c:pt idx="37">
                  <c:v>78</c:v>
                </c:pt>
                <c:pt idx="38">
                  <c:v>139</c:v>
                </c:pt>
                <c:pt idx="39">
                  <c:v>30</c:v>
                </c:pt>
                <c:pt idx="40">
                  <c:v>11</c:v>
                </c:pt>
                <c:pt idx="41">
                  <c:v>138</c:v>
                </c:pt>
                <c:pt idx="42">
                  <c:v>223</c:v>
                </c:pt>
                <c:pt idx="43">
                  <c:v>181</c:v>
                </c:pt>
                <c:pt idx="44">
                  <c:v>195</c:v>
                </c:pt>
                <c:pt idx="45">
                  <c:v>205</c:v>
                </c:pt>
                <c:pt idx="46">
                  <c:v>155</c:v>
                </c:pt>
                <c:pt idx="47">
                  <c:v>41</c:v>
                </c:pt>
                <c:pt idx="48">
                  <c:v>242</c:v>
                </c:pt>
                <c:pt idx="49">
                  <c:v>200</c:v>
                </c:pt>
                <c:pt idx="50">
                  <c:v>326</c:v>
                </c:pt>
                <c:pt idx="51">
                  <c:v>228</c:v>
                </c:pt>
                <c:pt idx="52">
                  <c:v>416</c:v>
                </c:pt>
                <c:pt idx="53">
                  <c:v>227</c:v>
                </c:pt>
                <c:pt idx="54">
                  <c:v>195</c:v>
                </c:pt>
                <c:pt idx="55">
                  <c:v>387</c:v>
                </c:pt>
                <c:pt idx="56">
                  <c:v>523</c:v>
                </c:pt>
                <c:pt idx="57">
                  <c:v>260</c:v>
                </c:pt>
                <c:pt idx="58">
                  <c:v>538</c:v>
                </c:pt>
                <c:pt idx="59">
                  <c:v>587</c:v>
                </c:pt>
                <c:pt idx="60">
                  <c:v>337</c:v>
                </c:pt>
                <c:pt idx="61">
                  <c:v>212</c:v>
                </c:pt>
                <c:pt idx="62">
                  <c:v>332</c:v>
                </c:pt>
                <c:pt idx="63">
                  <c:v>332</c:v>
                </c:pt>
                <c:pt idx="64">
                  <c:v>424</c:v>
                </c:pt>
                <c:pt idx="65">
                  <c:v>534</c:v>
                </c:pt>
                <c:pt idx="66">
                  <c:v>488</c:v>
                </c:pt>
                <c:pt idx="67">
                  <c:v>214</c:v>
                </c:pt>
                <c:pt idx="68">
                  <c:v>78</c:v>
                </c:pt>
                <c:pt idx="69">
                  <c:v>204</c:v>
                </c:pt>
                <c:pt idx="70">
                  <c:v>385</c:v>
                </c:pt>
                <c:pt idx="71">
                  <c:v>677</c:v>
                </c:pt>
                <c:pt idx="72">
                  <c:v>498</c:v>
                </c:pt>
                <c:pt idx="73">
                  <c:v>481</c:v>
                </c:pt>
                <c:pt idx="74">
                  <c:v>180</c:v>
                </c:pt>
                <c:pt idx="75">
                  <c:v>165</c:v>
                </c:pt>
                <c:pt idx="76">
                  <c:v>382</c:v>
                </c:pt>
                <c:pt idx="77">
                  <c:v>138</c:v>
                </c:pt>
                <c:pt idx="78">
                  <c:v>266</c:v>
                </c:pt>
                <c:pt idx="79">
                  <c:v>269</c:v>
                </c:pt>
                <c:pt idx="80">
                  <c:v>240</c:v>
                </c:pt>
                <c:pt idx="81">
                  <c:v>94</c:v>
                </c:pt>
                <c:pt idx="82">
                  <c:v>91</c:v>
                </c:pt>
                <c:pt idx="83">
                  <c:v>378</c:v>
                </c:pt>
                <c:pt idx="84">
                  <c:v>198</c:v>
                </c:pt>
                <c:pt idx="85">
                  <c:v>124</c:v>
                </c:pt>
                <c:pt idx="86">
                  <c:v>194</c:v>
                </c:pt>
                <c:pt idx="87">
                  <c:v>139</c:v>
                </c:pt>
                <c:pt idx="88">
                  <c:v>78</c:v>
                </c:pt>
                <c:pt idx="89">
                  <c:v>28</c:v>
                </c:pt>
                <c:pt idx="90">
                  <c:v>213</c:v>
                </c:pt>
                <c:pt idx="91">
                  <c:v>124</c:v>
                </c:pt>
                <c:pt idx="92">
                  <c:v>132</c:v>
                </c:pt>
                <c:pt idx="93">
                  <c:v>128</c:v>
                </c:pt>
                <c:pt idx="94">
                  <c:v>142</c:v>
                </c:pt>
                <c:pt idx="95">
                  <c:v>89</c:v>
                </c:pt>
                <c:pt idx="96">
                  <c:v>20</c:v>
                </c:pt>
                <c:pt idx="97">
                  <c:v>142</c:v>
                </c:pt>
                <c:pt idx="98">
                  <c:v>89</c:v>
                </c:pt>
                <c:pt idx="99">
                  <c:v>141</c:v>
                </c:pt>
                <c:pt idx="100">
                  <c:v>83</c:v>
                </c:pt>
                <c:pt idx="101">
                  <c:v>230</c:v>
                </c:pt>
                <c:pt idx="102">
                  <c:v>67</c:v>
                </c:pt>
                <c:pt idx="103">
                  <c:v>49</c:v>
                </c:pt>
                <c:pt idx="104">
                  <c:v>148</c:v>
                </c:pt>
                <c:pt idx="105">
                  <c:v>133</c:v>
                </c:pt>
                <c:pt idx="106">
                  <c:v>100</c:v>
                </c:pt>
                <c:pt idx="107">
                  <c:v>68</c:v>
                </c:pt>
                <c:pt idx="108">
                  <c:v>222</c:v>
                </c:pt>
                <c:pt idx="109">
                  <c:v>61</c:v>
                </c:pt>
                <c:pt idx="110">
                  <c:v>21</c:v>
                </c:pt>
                <c:pt idx="111">
                  <c:v>178</c:v>
                </c:pt>
                <c:pt idx="112">
                  <c:v>176</c:v>
                </c:pt>
                <c:pt idx="113">
                  <c:v>122</c:v>
                </c:pt>
                <c:pt idx="114">
                  <c:v>18</c:v>
                </c:pt>
                <c:pt idx="115">
                  <c:v>71</c:v>
                </c:pt>
                <c:pt idx="116">
                  <c:v>78</c:v>
                </c:pt>
                <c:pt idx="117">
                  <c:v>98</c:v>
                </c:pt>
                <c:pt idx="118">
                  <c:v>165</c:v>
                </c:pt>
                <c:pt idx="119">
                  <c:v>185</c:v>
                </c:pt>
                <c:pt idx="120">
                  <c:v>144</c:v>
                </c:pt>
                <c:pt idx="121">
                  <c:v>133</c:v>
                </c:pt>
                <c:pt idx="122">
                  <c:v>65</c:v>
                </c:pt>
                <c:pt idx="123">
                  <c:v>59</c:v>
                </c:pt>
                <c:pt idx="124">
                  <c:v>42</c:v>
                </c:pt>
                <c:pt idx="125">
                  <c:v>269</c:v>
                </c:pt>
                <c:pt idx="126">
                  <c:v>152</c:v>
                </c:pt>
                <c:pt idx="127">
                  <c:v>160</c:v>
                </c:pt>
                <c:pt idx="128">
                  <c:v>232</c:v>
                </c:pt>
                <c:pt idx="129">
                  <c:v>185</c:v>
                </c:pt>
                <c:pt idx="130">
                  <c:v>61</c:v>
                </c:pt>
                <c:pt idx="131">
                  <c:v>31</c:v>
                </c:pt>
                <c:pt idx="132">
                  <c:v>238</c:v>
                </c:pt>
                <c:pt idx="133">
                  <c:v>126</c:v>
                </c:pt>
                <c:pt idx="134">
                  <c:v>175</c:v>
                </c:pt>
                <c:pt idx="135">
                  <c:v>97</c:v>
                </c:pt>
                <c:pt idx="136">
                  <c:v>86</c:v>
                </c:pt>
                <c:pt idx="137">
                  <c:v>35</c:v>
                </c:pt>
                <c:pt idx="138">
                  <c:v>45</c:v>
                </c:pt>
                <c:pt idx="139">
                  <c:v>161</c:v>
                </c:pt>
                <c:pt idx="140">
                  <c:v>79</c:v>
                </c:pt>
                <c:pt idx="141">
                  <c:v>146</c:v>
                </c:pt>
                <c:pt idx="142">
                  <c:v>106</c:v>
                </c:pt>
                <c:pt idx="143">
                  <c:v>114</c:v>
                </c:pt>
                <c:pt idx="144">
                  <c:v>53</c:v>
                </c:pt>
                <c:pt idx="145">
                  <c:v>25</c:v>
                </c:pt>
                <c:pt idx="146">
                  <c:v>84</c:v>
                </c:pt>
                <c:pt idx="147">
                  <c:v>41</c:v>
                </c:pt>
                <c:pt idx="148">
                  <c:v>95</c:v>
                </c:pt>
                <c:pt idx="149">
                  <c:v>67</c:v>
                </c:pt>
                <c:pt idx="150">
                  <c:v>37</c:v>
                </c:pt>
                <c:pt idx="151">
                  <c:v>49</c:v>
                </c:pt>
                <c:pt idx="152">
                  <c:v>9</c:v>
                </c:pt>
                <c:pt idx="153">
                  <c:v>106</c:v>
                </c:pt>
                <c:pt idx="154">
                  <c:v>94</c:v>
                </c:pt>
                <c:pt idx="155">
                  <c:v>102</c:v>
                </c:pt>
                <c:pt idx="156">
                  <c:v>82</c:v>
                </c:pt>
                <c:pt idx="157">
                  <c:v>84</c:v>
                </c:pt>
                <c:pt idx="158">
                  <c:v>42</c:v>
                </c:pt>
                <c:pt idx="159">
                  <c:v>16</c:v>
                </c:pt>
                <c:pt idx="160">
                  <c:v>65</c:v>
                </c:pt>
                <c:pt idx="161">
                  <c:v>66</c:v>
                </c:pt>
                <c:pt idx="162">
                  <c:v>67</c:v>
                </c:pt>
                <c:pt idx="163">
                  <c:v>65</c:v>
                </c:pt>
                <c:pt idx="164">
                  <c:v>52</c:v>
                </c:pt>
                <c:pt idx="165">
                  <c:v>8</c:v>
                </c:pt>
                <c:pt idx="166">
                  <c:v>13</c:v>
                </c:pt>
                <c:pt idx="167">
                  <c:v>37</c:v>
                </c:pt>
                <c:pt idx="168">
                  <c:v>17</c:v>
                </c:pt>
                <c:pt idx="169">
                  <c:v>30</c:v>
                </c:pt>
                <c:pt idx="170">
                  <c:v>27</c:v>
                </c:pt>
                <c:pt idx="171">
                  <c:v>27</c:v>
                </c:pt>
                <c:pt idx="172">
                  <c:v>18</c:v>
                </c:pt>
                <c:pt idx="173">
                  <c:v>5</c:v>
                </c:pt>
                <c:pt idx="174">
                  <c:v>89</c:v>
                </c:pt>
                <c:pt idx="175">
                  <c:v>36</c:v>
                </c:pt>
                <c:pt idx="176">
                  <c:v>34</c:v>
                </c:pt>
                <c:pt idx="177">
                  <c:v>46</c:v>
                </c:pt>
                <c:pt idx="178">
                  <c:v>46</c:v>
                </c:pt>
                <c:pt idx="179">
                  <c:v>9</c:v>
                </c:pt>
                <c:pt idx="180">
                  <c:v>3</c:v>
                </c:pt>
                <c:pt idx="181">
                  <c:v>78</c:v>
                </c:pt>
                <c:pt idx="182">
                  <c:v>28</c:v>
                </c:pt>
                <c:pt idx="183">
                  <c:v>46</c:v>
                </c:pt>
                <c:pt idx="184">
                  <c:v>9</c:v>
                </c:pt>
                <c:pt idx="185">
                  <c:v>23</c:v>
                </c:pt>
                <c:pt idx="186">
                  <c:v>5</c:v>
                </c:pt>
                <c:pt idx="187">
                  <c:v>5</c:v>
                </c:pt>
                <c:pt idx="188">
                  <c:v>27</c:v>
                </c:pt>
                <c:pt idx="189">
                  <c:v>79</c:v>
                </c:pt>
                <c:pt idx="190">
                  <c:v>55</c:v>
                </c:pt>
                <c:pt idx="191">
                  <c:v>12</c:v>
                </c:pt>
                <c:pt idx="192">
                  <c:v>25</c:v>
                </c:pt>
                <c:pt idx="193">
                  <c:v>9</c:v>
                </c:pt>
                <c:pt idx="194">
                  <c:v>6</c:v>
                </c:pt>
                <c:pt idx="195">
                  <c:v>29</c:v>
                </c:pt>
                <c:pt idx="196">
                  <c:v>20</c:v>
                </c:pt>
                <c:pt idx="197">
                  <c:v>7</c:v>
                </c:pt>
                <c:pt idx="198">
                  <c:v>37</c:v>
                </c:pt>
                <c:pt idx="199">
                  <c:v>18</c:v>
                </c:pt>
                <c:pt idx="200">
                  <c:v>9</c:v>
                </c:pt>
                <c:pt idx="201">
                  <c:v>4</c:v>
                </c:pt>
                <c:pt idx="202">
                  <c:v>13</c:v>
                </c:pt>
                <c:pt idx="203">
                  <c:v>29</c:v>
                </c:pt>
                <c:pt idx="204">
                  <c:v>20</c:v>
                </c:pt>
                <c:pt idx="205">
                  <c:v>31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1</c:v>
                </c:pt>
                <c:pt idx="210">
                  <c:v>10</c:v>
                </c:pt>
                <c:pt idx="211">
                  <c:v>9</c:v>
                </c:pt>
                <c:pt idx="212">
                  <c:v>9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8</c:v>
                </c:pt>
                <c:pt idx="219">
                  <c:v>1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1</c:v>
                </c:pt>
                <c:pt idx="224">
                  <c:v>2</c:v>
                </c:pt>
                <c:pt idx="225">
                  <c:v>1</c:v>
                </c:pt>
                <c:pt idx="226">
                  <c:v>3</c:v>
                </c:pt>
                <c:pt idx="227">
                  <c:v>1</c:v>
                </c:pt>
                <c:pt idx="228">
                  <c:v>1</c:v>
                </c:pt>
                <c:pt idx="229">
                  <c:v>1</c:v>
                </c:pt>
                <c:pt idx="230">
                  <c:v>5</c:v>
                </c:pt>
                <c:pt idx="231">
                  <c:v>4</c:v>
                </c:pt>
                <c:pt idx="232">
                  <c:v>3</c:v>
                </c:pt>
                <c:pt idx="233">
                  <c:v>9</c:v>
                </c:pt>
                <c:pt idx="234">
                  <c:v>4</c:v>
                </c:pt>
                <c:pt idx="235">
                  <c:v>1</c:v>
                </c:pt>
                <c:pt idx="236">
                  <c:v>0</c:v>
                </c:pt>
                <c:pt idx="237">
                  <c:v>1</c:v>
                </c:pt>
                <c:pt idx="238">
                  <c:v>3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2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2</c:v>
                </c:pt>
                <c:pt idx="255">
                  <c:v>3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0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4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3</c:v>
                </c:pt>
                <c:pt idx="428">
                  <c:v>16</c:v>
                </c:pt>
                <c:pt idx="429">
                  <c:v>52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29</c:v>
                </c:pt>
                <c:pt idx="434">
                  <c:v>29</c:v>
                </c:pt>
                <c:pt idx="435">
                  <c:v>15</c:v>
                </c:pt>
                <c:pt idx="436">
                  <c:v>18</c:v>
                </c:pt>
                <c:pt idx="437">
                  <c:v>17</c:v>
                </c:pt>
                <c:pt idx="438">
                  <c:v>13</c:v>
                </c:pt>
                <c:pt idx="439">
                  <c:v>14</c:v>
                </c:pt>
                <c:pt idx="440">
                  <c:v>43</c:v>
                </c:pt>
                <c:pt idx="441">
                  <c:v>32</c:v>
                </c:pt>
                <c:pt idx="442">
                  <c:v>23</c:v>
                </c:pt>
                <c:pt idx="443">
                  <c:v>55</c:v>
                </c:pt>
                <c:pt idx="444">
                  <c:v>84</c:v>
                </c:pt>
                <c:pt idx="445">
                  <c:v>26</c:v>
                </c:pt>
                <c:pt idx="446">
                  <c:v>9</c:v>
                </c:pt>
                <c:pt idx="447">
                  <c:v>48</c:v>
                </c:pt>
                <c:pt idx="448">
                  <c:v>23</c:v>
                </c:pt>
                <c:pt idx="449">
                  <c:v>41</c:v>
                </c:pt>
                <c:pt idx="450">
                  <c:v>29</c:v>
                </c:pt>
                <c:pt idx="451">
                  <c:v>52</c:v>
                </c:pt>
                <c:pt idx="452">
                  <c:v>5</c:v>
                </c:pt>
                <c:pt idx="453">
                  <c:v>7</c:v>
                </c:pt>
                <c:pt idx="454">
                  <c:v>42</c:v>
                </c:pt>
                <c:pt idx="455">
                  <c:v>14</c:v>
                </c:pt>
                <c:pt idx="456">
                  <c:v>30</c:v>
                </c:pt>
                <c:pt idx="457">
                  <c:v>31</c:v>
                </c:pt>
                <c:pt idx="458">
                  <c:v>13</c:v>
                </c:pt>
                <c:pt idx="459">
                  <c:v>38</c:v>
                </c:pt>
                <c:pt idx="460">
                  <c:v>6</c:v>
                </c:pt>
                <c:pt idx="461">
                  <c:v>29</c:v>
                </c:pt>
                <c:pt idx="462">
                  <c:v>23</c:v>
                </c:pt>
                <c:pt idx="463">
                  <c:v>17</c:v>
                </c:pt>
                <c:pt idx="464">
                  <c:v>31</c:v>
                </c:pt>
                <c:pt idx="465">
                  <c:v>28</c:v>
                </c:pt>
                <c:pt idx="466">
                  <c:v>6</c:v>
                </c:pt>
                <c:pt idx="467">
                  <c:v>0</c:v>
                </c:pt>
                <c:pt idx="468">
                  <c:v>16</c:v>
                </c:pt>
                <c:pt idx="469">
                  <c:v>27</c:v>
                </c:pt>
                <c:pt idx="470">
                  <c:v>15</c:v>
                </c:pt>
                <c:pt idx="471">
                  <c:v>7</c:v>
                </c:pt>
                <c:pt idx="472">
                  <c:v>11</c:v>
                </c:pt>
                <c:pt idx="473">
                  <c:v>3</c:v>
                </c:pt>
                <c:pt idx="474">
                  <c:v>3</c:v>
                </c:pt>
                <c:pt idx="475">
                  <c:v>15</c:v>
                </c:pt>
                <c:pt idx="476">
                  <c:v>7</c:v>
                </c:pt>
                <c:pt idx="477">
                  <c:v>2</c:v>
                </c:pt>
                <c:pt idx="478">
                  <c:v>7</c:v>
                </c:pt>
                <c:pt idx="479">
                  <c:v>0</c:v>
                </c:pt>
                <c:pt idx="480">
                  <c:v>2</c:v>
                </c:pt>
                <c:pt idx="481">
                  <c:v>0</c:v>
                </c:pt>
                <c:pt idx="482">
                  <c:v>10</c:v>
                </c:pt>
                <c:pt idx="483">
                  <c:v>10</c:v>
                </c:pt>
                <c:pt idx="484">
                  <c:v>5</c:v>
                </c:pt>
                <c:pt idx="485">
                  <c:v>3</c:v>
                </c:pt>
                <c:pt idx="486">
                  <c:v>9</c:v>
                </c:pt>
                <c:pt idx="487">
                  <c:v>1</c:v>
                </c:pt>
                <c:pt idx="488" formatCode="General">
                  <c:v>0</c:v>
                </c:pt>
                <c:pt idx="489" formatCode="General">
                  <c:v>3</c:v>
                </c:pt>
                <c:pt idx="490" formatCode="General">
                  <c:v>6</c:v>
                </c:pt>
                <c:pt idx="491" formatCode="General">
                  <c:v>6</c:v>
                </c:pt>
                <c:pt idx="492" formatCode="General">
                  <c:v>5</c:v>
                </c:pt>
                <c:pt idx="493" formatCode="General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5</c:f>
              <c:numCache>
                <c:formatCode>m/d/yyyy</c:formatCode>
                <c:ptCount val="49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</c:numCache>
            </c:numRef>
          </c:cat>
          <c:val>
            <c:numRef>
              <c:f>Sheet1!$B$2:$B$495</c:f>
              <c:numCache>
                <c:formatCode>#\ ##0_ ;\-#\ ##0\ </c:formatCode>
                <c:ptCount val="494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5</c:v>
                </c:pt>
                <c:pt idx="21">
                  <c:v>4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4</c:v>
                </c:pt>
                <c:pt idx="28">
                  <c:v>23</c:v>
                </c:pt>
                <c:pt idx="29">
                  <c:v>10</c:v>
                </c:pt>
                <c:pt idx="30">
                  <c:v>30</c:v>
                </c:pt>
                <c:pt idx="31">
                  <c:v>95</c:v>
                </c:pt>
                <c:pt idx="32">
                  <c:v>31</c:v>
                </c:pt>
                <c:pt idx="33">
                  <c:v>30</c:v>
                </c:pt>
                <c:pt idx="34">
                  <c:v>90</c:v>
                </c:pt>
                <c:pt idx="35">
                  <c:v>46</c:v>
                </c:pt>
                <c:pt idx="36">
                  <c:v>42</c:v>
                </c:pt>
                <c:pt idx="37">
                  <c:v>84</c:v>
                </c:pt>
                <c:pt idx="38">
                  <c:v>87</c:v>
                </c:pt>
                <c:pt idx="39">
                  <c:v>51</c:v>
                </c:pt>
                <c:pt idx="40">
                  <c:v>25</c:v>
                </c:pt>
                <c:pt idx="41">
                  <c:v>161</c:v>
                </c:pt>
                <c:pt idx="42">
                  <c:v>155</c:v>
                </c:pt>
                <c:pt idx="43">
                  <c:v>191</c:v>
                </c:pt>
                <c:pt idx="44">
                  <c:v>201</c:v>
                </c:pt>
                <c:pt idx="45">
                  <c:v>211</c:v>
                </c:pt>
                <c:pt idx="46">
                  <c:v>106</c:v>
                </c:pt>
                <c:pt idx="47">
                  <c:v>48</c:v>
                </c:pt>
                <c:pt idx="48">
                  <c:v>192</c:v>
                </c:pt>
                <c:pt idx="49">
                  <c:v>193</c:v>
                </c:pt>
                <c:pt idx="50">
                  <c:v>259</c:v>
                </c:pt>
                <c:pt idx="51">
                  <c:v>235</c:v>
                </c:pt>
                <c:pt idx="52">
                  <c:v>335</c:v>
                </c:pt>
                <c:pt idx="53">
                  <c:v>187</c:v>
                </c:pt>
                <c:pt idx="54">
                  <c:v>90</c:v>
                </c:pt>
                <c:pt idx="55">
                  <c:v>377</c:v>
                </c:pt>
                <c:pt idx="56">
                  <c:v>397</c:v>
                </c:pt>
                <c:pt idx="57">
                  <c:v>134</c:v>
                </c:pt>
                <c:pt idx="58">
                  <c:v>471</c:v>
                </c:pt>
                <c:pt idx="59">
                  <c:v>333</c:v>
                </c:pt>
                <c:pt idx="60">
                  <c:v>183</c:v>
                </c:pt>
                <c:pt idx="61">
                  <c:v>116</c:v>
                </c:pt>
                <c:pt idx="62">
                  <c:v>298</c:v>
                </c:pt>
                <c:pt idx="63">
                  <c:v>231</c:v>
                </c:pt>
                <c:pt idx="64">
                  <c:v>331</c:v>
                </c:pt>
                <c:pt idx="65">
                  <c:v>280</c:v>
                </c:pt>
                <c:pt idx="66">
                  <c:v>241</c:v>
                </c:pt>
                <c:pt idx="67">
                  <c:v>117</c:v>
                </c:pt>
                <c:pt idx="68">
                  <c:v>48</c:v>
                </c:pt>
                <c:pt idx="69">
                  <c:v>197</c:v>
                </c:pt>
                <c:pt idx="70">
                  <c:v>205</c:v>
                </c:pt>
                <c:pt idx="71">
                  <c:v>262</c:v>
                </c:pt>
                <c:pt idx="72">
                  <c:v>232</c:v>
                </c:pt>
                <c:pt idx="73">
                  <c:v>204</c:v>
                </c:pt>
                <c:pt idx="74">
                  <c:v>73</c:v>
                </c:pt>
                <c:pt idx="75">
                  <c:v>30</c:v>
                </c:pt>
                <c:pt idx="76">
                  <c:v>180</c:v>
                </c:pt>
                <c:pt idx="77">
                  <c:v>46</c:v>
                </c:pt>
                <c:pt idx="78">
                  <c:v>163</c:v>
                </c:pt>
                <c:pt idx="79">
                  <c:v>129</c:v>
                </c:pt>
                <c:pt idx="80">
                  <c:v>121</c:v>
                </c:pt>
                <c:pt idx="81">
                  <c:v>36</c:v>
                </c:pt>
                <c:pt idx="82">
                  <c:v>17</c:v>
                </c:pt>
                <c:pt idx="83">
                  <c:v>140</c:v>
                </c:pt>
                <c:pt idx="84">
                  <c:v>107</c:v>
                </c:pt>
                <c:pt idx="85">
                  <c:v>94</c:v>
                </c:pt>
                <c:pt idx="86">
                  <c:v>55</c:v>
                </c:pt>
                <c:pt idx="87">
                  <c:v>80</c:v>
                </c:pt>
                <c:pt idx="88">
                  <c:v>23</c:v>
                </c:pt>
                <c:pt idx="89">
                  <c:v>16</c:v>
                </c:pt>
                <c:pt idx="90">
                  <c:v>105</c:v>
                </c:pt>
                <c:pt idx="91">
                  <c:v>85</c:v>
                </c:pt>
                <c:pt idx="92">
                  <c:v>66</c:v>
                </c:pt>
                <c:pt idx="93">
                  <c:v>58</c:v>
                </c:pt>
                <c:pt idx="94">
                  <c:v>89</c:v>
                </c:pt>
                <c:pt idx="95">
                  <c:v>40</c:v>
                </c:pt>
                <c:pt idx="96">
                  <c:v>25</c:v>
                </c:pt>
                <c:pt idx="97">
                  <c:v>120</c:v>
                </c:pt>
                <c:pt idx="98">
                  <c:v>76</c:v>
                </c:pt>
                <c:pt idx="99">
                  <c:v>63</c:v>
                </c:pt>
                <c:pt idx="100">
                  <c:v>59</c:v>
                </c:pt>
                <c:pt idx="101">
                  <c:v>77</c:v>
                </c:pt>
                <c:pt idx="102">
                  <c:v>21</c:v>
                </c:pt>
                <c:pt idx="103">
                  <c:v>17</c:v>
                </c:pt>
                <c:pt idx="104">
                  <c:v>128</c:v>
                </c:pt>
                <c:pt idx="105">
                  <c:v>71</c:v>
                </c:pt>
                <c:pt idx="106">
                  <c:v>96</c:v>
                </c:pt>
                <c:pt idx="107">
                  <c:v>51</c:v>
                </c:pt>
                <c:pt idx="108">
                  <c:v>83</c:v>
                </c:pt>
                <c:pt idx="109">
                  <c:v>27</c:v>
                </c:pt>
                <c:pt idx="110">
                  <c:v>27</c:v>
                </c:pt>
                <c:pt idx="111">
                  <c:v>158</c:v>
                </c:pt>
                <c:pt idx="112">
                  <c:v>111</c:v>
                </c:pt>
                <c:pt idx="113">
                  <c:v>116</c:v>
                </c:pt>
                <c:pt idx="114">
                  <c:v>28</c:v>
                </c:pt>
                <c:pt idx="115">
                  <c:v>45</c:v>
                </c:pt>
                <c:pt idx="116">
                  <c:v>49</c:v>
                </c:pt>
                <c:pt idx="117">
                  <c:v>46</c:v>
                </c:pt>
                <c:pt idx="118">
                  <c:v>192</c:v>
                </c:pt>
                <c:pt idx="119">
                  <c:v>147</c:v>
                </c:pt>
                <c:pt idx="120">
                  <c:v>112</c:v>
                </c:pt>
                <c:pt idx="121">
                  <c:v>85</c:v>
                </c:pt>
                <c:pt idx="122">
                  <c:v>29</c:v>
                </c:pt>
                <c:pt idx="123">
                  <c:v>59</c:v>
                </c:pt>
                <c:pt idx="124">
                  <c:v>35</c:v>
                </c:pt>
                <c:pt idx="125">
                  <c:v>277</c:v>
                </c:pt>
                <c:pt idx="126">
                  <c:v>144</c:v>
                </c:pt>
                <c:pt idx="127">
                  <c:v>112</c:v>
                </c:pt>
                <c:pt idx="128">
                  <c:v>100</c:v>
                </c:pt>
                <c:pt idx="129">
                  <c:v>122</c:v>
                </c:pt>
                <c:pt idx="130">
                  <c:v>48</c:v>
                </c:pt>
                <c:pt idx="131">
                  <c:v>25</c:v>
                </c:pt>
                <c:pt idx="132">
                  <c:v>230</c:v>
                </c:pt>
                <c:pt idx="133">
                  <c:v>97</c:v>
                </c:pt>
                <c:pt idx="134">
                  <c:v>109</c:v>
                </c:pt>
                <c:pt idx="135">
                  <c:v>53</c:v>
                </c:pt>
                <c:pt idx="136">
                  <c:v>65</c:v>
                </c:pt>
                <c:pt idx="137">
                  <c:v>32</c:v>
                </c:pt>
                <c:pt idx="138">
                  <c:v>26</c:v>
                </c:pt>
                <c:pt idx="139">
                  <c:v>126</c:v>
                </c:pt>
                <c:pt idx="140">
                  <c:v>75</c:v>
                </c:pt>
                <c:pt idx="141">
                  <c:v>71</c:v>
                </c:pt>
                <c:pt idx="142">
                  <c:v>60</c:v>
                </c:pt>
                <c:pt idx="143">
                  <c:v>79</c:v>
                </c:pt>
                <c:pt idx="144">
                  <c:v>27</c:v>
                </c:pt>
                <c:pt idx="145">
                  <c:v>11</c:v>
                </c:pt>
                <c:pt idx="146">
                  <c:v>89</c:v>
                </c:pt>
                <c:pt idx="147">
                  <c:v>76</c:v>
                </c:pt>
                <c:pt idx="148">
                  <c:v>60</c:v>
                </c:pt>
                <c:pt idx="149">
                  <c:v>32</c:v>
                </c:pt>
                <c:pt idx="150">
                  <c:v>46</c:v>
                </c:pt>
                <c:pt idx="151">
                  <c:v>30</c:v>
                </c:pt>
                <c:pt idx="152">
                  <c:v>9</c:v>
                </c:pt>
                <c:pt idx="153">
                  <c:v>80</c:v>
                </c:pt>
                <c:pt idx="154">
                  <c:v>69</c:v>
                </c:pt>
                <c:pt idx="155">
                  <c:v>59</c:v>
                </c:pt>
                <c:pt idx="156">
                  <c:v>42</c:v>
                </c:pt>
                <c:pt idx="157">
                  <c:v>48</c:v>
                </c:pt>
                <c:pt idx="158">
                  <c:v>11</c:v>
                </c:pt>
                <c:pt idx="159">
                  <c:v>17</c:v>
                </c:pt>
                <c:pt idx="160">
                  <c:v>71</c:v>
                </c:pt>
                <c:pt idx="161">
                  <c:v>21</c:v>
                </c:pt>
                <c:pt idx="162">
                  <c:v>34</c:v>
                </c:pt>
                <c:pt idx="163">
                  <c:v>39</c:v>
                </c:pt>
                <c:pt idx="164">
                  <c:v>39</c:v>
                </c:pt>
                <c:pt idx="165">
                  <c:v>15</c:v>
                </c:pt>
                <c:pt idx="166">
                  <c:v>10</c:v>
                </c:pt>
                <c:pt idx="167">
                  <c:v>63</c:v>
                </c:pt>
                <c:pt idx="168">
                  <c:v>33</c:v>
                </c:pt>
                <c:pt idx="169">
                  <c:v>36</c:v>
                </c:pt>
                <c:pt idx="170">
                  <c:v>29</c:v>
                </c:pt>
                <c:pt idx="171">
                  <c:v>35</c:v>
                </c:pt>
                <c:pt idx="172">
                  <c:v>6</c:v>
                </c:pt>
                <c:pt idx="173">
                  <c:v>18</c:v>
                </c:pt>
                <c:pt idx="174">
                  <c:v>74</c:v>
                </c:pt>
                <c:pt idx="175">
                  <c:v>45</c:v>
                </c:pt>
                <c:pt idx="176">
                  <c:v>34</c:v>
                </c:pt>
                <c:pt idx="177">
                  <c:v>33</c:v>
                </c:pt>
                <c:pt idx="178">
                  <c:v>39</c:v>
                </c:pt>
                <c:pt idx="179">
                  <c:v>9</c:v>
                </c:pt>
                <c:pt idx="180">
                  <c:v>9</c:v>
                </c:pt>
                <c:pt idx="181">
                  <c:v>57</c:v>
                </c:pt>
                <c:pt idx="182">
                  <c:v>39</c:v>
                </c:pt>
                <c:pt idx="183">
                  <c:v>56</c:v>
                </c:pt>
                <c:pt idx="184">
                  <c:v>40</c:v>
                </c:pt>
                <c:pt idx="185">
                  <c:v>28</c:v>
                </c:pt>
                <c:pt idx="186">
                  <c:v>14</c:v>
                </c:pt>
                <c:pt idx="187">
                  <c:v>10</c:v>
                </c:pt>
                <c:pt idx="188">
                  <c:v>61</c:v>
                </c:pt>
                <c:pt idx="189">
                  <c:v>37</c:v>
                </c:pt>
                <c:pt idx="190">
                  <c:v>29</c:v>
                </c:pt>
                <c:pt idx="191">
                  <c:v>26</c:v>
                </c:pt>
                <c:pt idx="192">
                  <c:v>18</c:v>
                </c:pt>
                <c:pt idx="193">
                  <c:v>11</c:v>
                </c:pt>
                <c:pt idx="194">
                  <c:v>7</c:v>
                </c:pt>
                <c:pt idx="195">
                  <c:v>36</c:v>
                </c:pt>
                <c:pt idx="196">
                  <c:v>23</c:v>
                </c:pt>
                <c:pt idx="197">
                  <c:v>23</c:v>
                </c:pt>
                <c:pt idx="198">
                  <c:v>16</c:v>
                </c:pt>
                <c:pt idx="199">
                  <c:v>20</c:v>
                </c:pt>
                <c:pt idx="200">
                  <c:v>1</c:v>
                </c:pt>
                <c:pt idx="201">
                  <c:v>4</c:v>
                </c:pt>
                <c:pt idx="202">
                  <c:v>32</c:v>
                </c:pt>
                <c:pt idx="203">
                  <c:v>18</c:v>
                </c:pt>
                <c:pt idx="204">
                  <c:v>10</c:v>
                </c:pt>
                <c:pt idx="205">
                  <c:v>8</c:v>
                </c:pt>
                <c:pt idx="206">
                  <c:v>16</c:v>
                </c:pt>
                <c:pt idx="207">
                  <c:v>3</c:v>
                </c:pt>
                <c:pt idx="208">
                  <c:v>1</c:v>
                </c:pt>
                <c:pt idx="209">
                  <c:v>19</c:v>
                </c:pt>
                <c:pt idx="210">
                  <c:v>14</c:v>
                </c:pt>
                <c:pt idx="211">
                  <c:v>13</c:v>
                </c:pt>
                <c:pt idx="212">
                  <c:v>12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5</c:v>
                </c:pt>
                <c:pt idx="217">
                  <c:v>22</c:v>
                </c:pt>
                <c:pt idx="218">
                  <c:v>16</c:v>
                </c:pt>
                <c:pt idx="219">
                  <c:v>16</c:v>
                </c:pt>
                <c:pt idx="220">
                  <c:v>8</c:v>
                </c:pt>
                <c:pt idx="221">
                  <c:v>5</c:v>
                </c:pt>
                <c:pt idx="222">
                  <c:v>1</c:v>
                </c:pt>
                <c:pt idx="223">
                  <c:v>8</c:v>
                </c:pt>
                <c:pt idx="224">
                  <c:v>6</c:v>
                </c:pt>
                <c:pt idx="225">
                  <c:v>4</c:v>
                </c:pt>
                <c:pt idx="226">
                  <c:v>6</c:v>
                </c:pt>
                <c:pt idx="227">
                  <c:v>6</c:v>
                </c:pt>
                <c:pt idx="228">
                  <c:v>1</c:v>
                </c:pt>
                <c:pt idx="229">
                  <c:v>1</c:v>
                </c:pt>
                <c:pt idx="230">
                  <c:v>10</c:v>
                </c:pt>
                <c:pt idx="231">
                  <c:v>3</c:v>
                </c:pt>
                <c:pt idx="232">
                  <c:v>4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8</c:v>
                </c:pt>
                <c:pt idx="238">
                  <c:v>7</c:v>
                </c:pt>
                <c:pt idx="239">
                  <c:v>2</c:v>
                </c:pt>
                <c:pt idx="240">
                  <c:v>2</c:v>
                </c:pt>
                <c:pt idx="241">
                  <c:v>5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1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5</c:v>
                </c:pt>
                <c:pt idx="259">
                  <c:v>4</c:v>
                </c:pt>
                <c:pt idx="260">
                  <c:v>2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3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3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6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9</c:v>
                </c:pt>
                <c:pt idx="415">
                  <c:v>7</c:v>
                </c:pt>
                <c:pt idx="416">
                  <c:v>10</c:v>
                </c:pt>
                <c:pt idx="417">
                  <c:v>0</c:v>
                </c:pt>
                <c:pt idx="418">
                  <c:v>3</c:v>
                </c:pt>
                <c:pt idx="419">
                  <c:v>19</c:v>
                </c:pt>
                <c:pt idx="420">
                  <c:v>5</c:v>
                </c:pt>
                <c:pt idx="421">
                  <c:v>17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5</c:v>
                </c:pt>
                <c:pt idx="428">
                  <c:v>19</c:v>
                </c:pt>
                <c:pt idx="429">
                  <c:v>24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0</c:v>
                </c:pt>
                <c:pt idx="434">
                  <c:v>25</c:v>
                </c:pt>
                <c:pt idx="435">
                  <c:v>29</c:v>
                </c:pt>
                <c:pt idx="436">
                  <c:v>36</c:v>
                </c:pt>
                <c:pt idx="437">
                  <c:v>34</c:v>
                </c:pt>
                <c:pt idx="438">
                  <c:v>20</c:v>
                </c:pt>
                <c:pt idx="439">
                  <c:v>14</c:v>
                </c:pt>
                <c:pt idx="440">
                  <c:v>55</c:v>
                </c:pt>
                <c:pt idx="441">
                  <c:v>33</c:v>
                </c:pt>
                <c:pt idx="442">
                  <c:v>13</c:v>
                </c:pt>
                <c:pt idx="443">
                  <c:v>42</c:v>
                </c:pt>
                <c:pt idx="444">
                  <c:v>52</c:v>
                </c:pt>
                <c:pt idx="445">
                  <c:v>11</c:v>
                </c:pt>
                <c:pt idx="446">
                  <c:v>7</c:v>
                </c:pt>
                <c:pt idx="447">
                  <c:v>68</c:v>
                </c:pt>
                <c:pt idx="448">
                  <c:v>44</c:v>
                </c:pt>
                <c:pt idx="449">
                  <c:v>45</c:v>
                </c:pt>
                <c:pt idx="450">
                  <c:v>48</c:v>
                </c:pt>
                <c:pt idx="451">
                  <c:v>48</c:v>
                </c:pt>
                <c:pt idx="452">
                  <c:v>22</c:v>
                </c:pt>
                <c:pt idx="453">
                  <c:v>8</c:v>
                </c:pt>
                <c:pt idx="454">
                  <c:v>43</c:v>
                </c:pt>
                <c:pt idx="455">
                  <c:v>48</c:v>
                </c:pt>
                <c:pt idx="456">
                  <c:v>40</c:v>
                </c:pt>
                <c:pt idx="457">
                  <c:v>32</c:v>
                </c:pt>
                <c:pt idx="458">
                  <c:v>27</c:v>
                </c:pt>
                <c:pt idx="459">
                  <c:v>21</c:v>
                </c:pt>
                <c:pt idx="460">
                  <c:v>9</c:v>
                </c:pt>
                <c:pt idx="461">
                  <c:v>48</c:v>
                </c:pt>
                <c:pt idx="462">
                  <c:v>34</c:v>
                </c:pt>
                <c:pt idx="463">
                  <c:v>34</c:v>
                </c:pt>
                <c:pt idx="464">
                  <c:v>25</c:v>
                </c:pt>
                <c:pt idx="465">
                  <c:v>18</c:v>
                </c:pt>
                <c:pt idx="466">
                  <c:v>13</c:v>
                </c:pt>
                <c:pt idx="467">
                  <c:v>7</c:v>
                </c:pt>
                <c:pt idx="468">
                  <c:v>30</c:v>
                </c:pt>
                <c:pt idx="469">
                  <c:v>36</c:v>
                </c:pt>
                <c:pt idx="470">
                  <c:v>28</c:v>
                </c:pt>
                <c:pt idx="471">
                  <c:v>17</c:v>
                </c:pt>
                <c:pt idx="472">
                  <c:v>14</c:v>
                </c:pt>
                <c:pt idx="473">
                  <c:v>7</c:v>
                </c:pt>
                <c:pt idx="474">
                  <c:v>10</c:v>
                </c:pt>
                <c:pt idx="475">
                  <c:v>23</c:v>
                </c:pt>
                <c:pt idx="476">
                  <c:v>12</c:v>
                </c:pt>
                <c:pt idx="477">
                  <c:v>7</c:v>
                </c:pt>
                <c:pt idx="478">
                  <c:v>8</c:v>
                </c:pt>
                <c:pt idx="479">
                  <c:v>6</c:v>
                </c:pt>
                <c:pt idx="480">
                  <c:v>2</c:v>
                </c:pt>
                <c:pt idx="481">
                  <c:v>5</c:v>
                </c:pt>
                <c:pt idx="482">
                  <c:v>6</c:v>
                </c:pt>
                <c:pt idx="483">
                  <c:v>20</c:v>
                </c:pt>
                <c:pt idx="484">
                  <c:v>10</c:v>
                </c:pt>
                <c:pt idx="485">
                  <c:v>18</c:v>
                </c:pt>
                <c:pt idx="486">
                  <c:v>8</c:v>
                </c:pt>
                <c:pt idx="487">
                  <c:v>0</c:v>
                </c:pt>
                <c:pt idx="488" formatCode="General">
                  <c:v>1</c:v>
                </c:pt>
                <c:pt idx="489" formatCode="General">
                  <c:v>14</c:v>
                </c:pt>
                <c:pt idx="490" formatCode="General">
                  <c:v>17</c:v>
                </c:pt>
                <c:pt idx="491" formatCode="General">
                  <c:v>7</c:v>
                </c:pt>
                <c:pt idx="492" formatCode="General">
                  <c:v>7</c:v>
                </c:pt>
                <c:pt idx="493" formatCode="General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5</c:f>
              <c:numCache>
                <c:formatCode>m/d/yyyy</c:formatCode>
                <c:ptCount val="49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</c:numCache>
            </c:numRef>
          </c:cat>
          <c:val>
            <c:numRef>
              <c:f>Sheet1!$B$2:$B$495</c:f>
              <c:numCache>
                <c:formatCode>#\ ##0_ ;\-#\ ##0\ </c:formatCode>
                <c:ptCount val="494"/>
                <c:pt idx="0">
                  <c:v>7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2</c:v>
                </c:pt>
                <c:pt idx="19">
                  <c:v>7</c:v>
                </c:pt>
                <c:pt idx="20">
                  <c:v>6</c:v>
                </c:pt>
                <c:pt idx="21">
                  <c:v>4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7</c:v>
                </c:pt>
                <c:pt idx="28">
                  <c:v>28</c:v>
                </c:pt>
                <c:pt idx="29">
                  <c:v>38</c:v>
                </c:pt>
                <c:pt idx="30">
                  <c:v>61</c:v>
                </c:pt>
                <c:pt idx="31">
                  <c:v>157</c:v>
                </c:pt>
                <c:pt idx="32">
                  <c:v>67</c:v>
                </c:pt>
                <c:pt idx="33">
                  <c:v>84</c:v>
                </c:pt>
                <c:pt idx="34">
                  <c:v>257</c:v>
                </c:pt>
                <c:pt idx="35">
                  <c:v>128</c:v>
                </c:pt>
                <c:pt idx="36">
                  <c:v>87</c:v>
                </c:pt>
                <c:pt idx="37">
                  <c:v>162</c:v>
                </c:pt>
                <c:pt idx="38">
                  <c:v>226</c:v>
                </c:pt>
                <c:pt idx="39">
                  <c:v>81</c:v>
                </c:pt>
                <c:pt idx="40">
                  <c:v>36</c:v>
                </c:pt>
                <c:pt idx="41">
                  <c:v>299</c:v>
                </c:pt>
                <c:pt idx="42">
                  <c:v>378</c:v>
                </c:pt>
                <c:pt idx="43">
                  <c:v>372</c:v>
                </c:pt>
                <c:pt idx="44">
                  <c:v>396</c:v>
                </c:pt>
                <c:pt idx="45">
                  <c:v>416</c:v>
                </c:pt>
                <c:pt idx="46">
                  <c:v>261</c:v>
                </c:pt>
                <c:pt idx="47">
                  <c:v>89</c:v>
                </c:pt>
                <c:pt idx="48">
                  <c:v>434</c:v>
                </c:pt>
                <c:pt idx="49">
                  <c:v>393</c:v>
                </c:pt>
                <c:pt idx="50">
                  <c:v>585</c:v>
                </c:pt>
                <c:pt idx="51">
                  <c:v>463</c:v>
                </c:pt>
                <c:pt idx="52">
                  <c:v>751</c:v>
                </c:pt>
                <c:pt idx="53">
                  <c:v>414</c:v>
                </c:pt>
                <c:pt idx="54">
                  <c:v>285</c:v>
                </c:pt>
                <c:pt idx="55">
                  <c:v>764</c:v>
                </c:pt>
                <c:pt idx="56">
                  <c:v>920</c:v>
                </c:pt>
                <c:pt idx="57">
                  <c:v>394</c:v>
                </c:pt>
                <c:pt idx="58">
                  <c:v>1009</c:v>
                </c:pt>
                <c:pt idx="59">
                  <c:v>920</c:v>
                </c:pt>
                <c:pt idx="60">
                  <c:v>520</c:v>
                </c:pt>
                <c:pt idx="61">
                  <c:v>328</c:v>
                </c:pt>
                <c:pt idx="62">
                  <c:v>630</c:v>
                </c:pt>
                <c:pt idx="63">
                  <c:v>563</c:v>
                </c:pt>
                <c:pt idx="64">
                  <c:v>755</c:v>
                </c:pt>
                <c:pt idx="65">
                  <c:v>814</c:v>
                </c:pt>
                <c:pt idx="66">
                  <c:v>729</c:v>
                </c:pt>
                <c:pt idx="67">
                  <c:v>331</c:v>
                </c:pt>
                <c:pt idx="68">
                  <c:v>126</c:v>
                </c:pt>
                <c:pt idx="69">
                  <c:v>401</c:v>
                </c:pt>
                <c:pt idx="70">
                  <c:v>590</c:v>
                </c:pt>
                <c:pt idx="71">
                  <c:v>939</c:v>
                </c:pt>
                <c:pt idx="72">
                  <c:v>730</c:v>
                </c:pt>
                <c:pt idx="73">
                  <c:v>685</c:v>
                </c:pt>
                <c:pt idx="74">
                  <c:v>253</c:v>
                </c:pt>
                <c:pt idx="75">
                  <c:v>195</c:v>
                </c:pt>
                <c:pt idx="76">
                  <c:v>562</c:v>
                </c:pt>
                <c:pt idx="77">
                  <c:v>184</c:v>
                </c:pt>
                <c:pt idx="78">
                  <c:v>429</c:v>
                </c:pt>
                <c:pt idx="79">
                  <c:v>398</c:v>
                </c:pt>
                <c:pt idx="80">
                  <c:v>361</c:v>
                </c:pt>
                <c:pt idx="81">
                  <c:v>130</c:v>
                </c:pt>
                <c:pt idx="82">
                  <c:v>108</c:v>
                </c:pt>
                <c:pt idx="83">
                  <c:v>518</c:v>
                </c:pt>
                <c:pt idx="84">
                  <c:v>305</c:v>
                </c:pt>
                <c:pt idx="85">
                  <c:v>218</c:v>
                </c:pt>
                <c:pt idx="86">
                  <c:v>249</c:v>
                </c:pt>
                <c:pt idx="87">
                  <c:v>219</c:v>
                </c:pt>
                <c:pt idx="88">
                  <c:v>101</c:v>
                </c:pt>
                <c:pt idx="89">
                  <c:v>44</c:v>
                </c:pt>
                <c:pt idx="90">
                  <c:v>318</c:v>
                </c:pt>
                <c:pt idx="91">
                  <c:v>209</c:v>
                </c:pt>
                <c:pt idx="92">
                  <c:v>198</c:v>
                </c:pt>
                <c:pt idx="93">
                  <c:v>186</c:v>
                </c:pt>
                <c:pt idx="94">
                  <c:v>231</c:v>
                </c:pt>
                <c:pt idx="95">
                  <c:v>129</c:v>
                </c:pt>
                <c:pt idx="96">
                  <c:v>45</c:v>
                </c:pt>
                <c:pt idx="97">
                  <c:v>262</c:v>
                </c:pt>
                <c:pt idx="98">
                  <c:v>165</c:v>
                </c:pt>
                <c:pt idx="99">
                  <c:v>204</c:v>
                </c:pt>
                <c:pt idx="100">
                  <c:v>142</c:v>
                </c:pt>
                <c:pt idx="101">
                  <c:v>307</c:v>
                </c:pt>
                <c:pt idx="102">
                  <c:v>88</c:v>
                </c:pt>
                <c:pt idx="103">
                  <c:v>66</c:v>
                </c:pt>
                <c:pt idx="104">
                  <c:v>276</c:v>
                </c:pt>
                <c:pt idx="105">
                  <c:v>204</c:v>
                </c:pt>
                <c:pt idx="106">
                  <c:v>196</c:v>
                </c:pt>
                <c:pt idx="107">
                  <c:v>119</c:v>
                </c:pt>
                <c:pt idx="108">
                  <c:v>305</c:v>
                </c:pt>
                <c:pt idx="109">
                  <c:v>88</c:v>
                </c:pt>
                <c:pt idx="110">
                  <c:v>48</c:v>
                </c:pt>
                <c:pt idx="111">
                  <c:v>336</c:v>
                </c:pt>
                <c:pt idx="112">
                  <c:v>287</c:v>
                </c:pt>
                <c:pt idx="113">
                  <c:v>238</c:v>
                </c:pt>
                <c:pt idx="114">
                  <c:v>46</c:v>
                </c:pt>
                <c:pt idx="115">
                  <c:v>116</c:v>
                </c:pt>
                <c:pt idx="116">
                  <c:v>127</c:v>
                </c:pt>
                <c:pt idx="117">
                  <c:v>144</c:v>
                </c:pt>
                <c:pt idx="118">
                  <c:v>357</c:v>
                </c:pt>
                <c:pt idx="119">
                  <c:v>332</c:v>
                </c:pt>
                <c:pt idx="120">
                  <c:v>256</c:v>
                </c:pt>
                <c:pt idx="121">
                  <c:v>218</c:v>
                </c:pt>
                <c:pt idx="122">
                  <c:v>94</c:v>
                </c:pt>
                <c:pt idx="123">
                  <c:v>118</c:v>
                </c:pt>
                <c:pt idx="124">
                  <c:v>77</c:v>
                </c:pt>
                <c:pt idx="125">
                  <c:v>546</c:v>
                </c:pt>
                <c:pt idx="126">
                  <c:v>296</c:v>
                </c:pt>
                <c:pt idx="127">
                  <c:v>272</c:v>
                </c:pt>
                <c:pt idx="128">
                  <c:v>332</c:v>
                </c:pt>
                <c:pt idx="129">
                  <c:v>307</c:v>
                </c:pt>
                <c:pt idx="130">
                  <c:v>109</c:v>
                </c:pt>
                <c:pt idx="131">
                  <c:v>56</c:v>
                </c:pt>
                <c:pt idx="132">
                  <c:v>468</c:v>
                </c:pt>
                <c:pt idx="133">
                  <c:v>223</c:v>
                </c:pt>
                <c:pt idx="134">
                  <c:v>284</c:v>
                </c:pt>
                <c:pt idx="135">
                  <c:v>150</c:v>
                </c:pt>
                <c:pt idx="136">
                  <c:v>151</c:v>
                </c:pt>
                <c:pt idx="137">
                  <c:v>67</c:v>
                </c:pt>
                <c:pt idx="138">
                  <c:v>71</c:v>
                </c:pt>
                <c:pt idx="139">
                  <c:v>287</c:v>
                </c:pt>
                <c:pt idx="140">
                  <c:v>154</c:v>
                </c:pt>
                <c:pt idx="141">
                  <c:v>217</c:v>
                </c:pt>
                <c:pt idx="142">
                  <c:v>166</c:v>
                </c:pt>
                <c:pt idx="143">
                  <c:v>193</c:v>
                </c:pt>
                <c:pt idx="144">
                  <c:v>80</c:v>
                </c:pt>
                <c:pt idx="145">
                  <c:v>36</c:v>
                </c:pt>
                <c:pt idx="146">
                  <c:v>173</c:v>
                </c:pt>
                <c:pt idx="147">
                  <c:v>117</c:v>
                </c:pt>
                <c:pt idx="148">
                  <c:v>155</c:v>
                </c:pt>
                <c:pt idx="149">
                  <c:v>99</c:v>
                </c:pt>
                <c:pt idx="150">
                  <c:v>83</c:v>
                </c:pt>
                <c:pt idx="151">
                  <c:v>79</c:v>
                </c:pt>
                <c:pt idx="152">
                  <c:v>18</c:v>
                </c:pt>
                <c:pt idx="153">
                  <c:v>186</c:v>
                </c:pt>
                <c:pt idx="154">
                  <c:v>163</c:v>
                </c:pt>
                <c:pt idx="155">
                  <c:v>161</c:v>
                </c:pt>
                <c:pt idx="156">
                  <c:v>124</c:v>
                </c:pt>
                <c:pt idx="157">
                  <c:v>132</c:v>
                </c:pt>
                <c:pt idx="158">
                  <c:v>53</c:v>
                </c:pt>
                <c:pt idx="159">
                  <c:v>33</c:v>
                </c:pt>
                <c:pt idx="160">
                  <c:v>136</c:v>
                </c:pt>
                <c:pt idx="161">
                  <c:v>87</c:v>
                </c:pt>
                <c:pt idx="162">
                  <c:v>101</c:v>
                </c:pt>
                <c:pt idx="163">
                  <c:v>104</c:v>
                </c:pt>
                <c:pt idx="164">
                  <c:v>91</c:v>
                </c:pt>
                <c:pt idx="165">
                  <c:v>23</c:v>
                </c:pt>
                <c:pt idx="166">
                  <c:v>23</c:v>
                </c:pt>
                <c:pt idx="167">
                  <c:v>100</c:v>
                </c:pt>
                <c:pt idx="168">
                  <c:v>50</c:v>
                </c:pt>
                <c:pt idx="169">
                  <c:v>66</c:v>
                </c:pt>
                <c:pt idx="170">
                  <c:v>56</c:v>
                </c:pt>
                <c:pt idx="171">
                  <c:v>62</c:v>
                </c:pt>
                <c:pt idx="172">
                  <c:v>24</c:v>
                </c:pt>
                <c:pt idx="173">
                  <c:v>23</c:v>
                </c:pt>
                <c:pt idx="174">
                  <c:v>163</c:v>
                </c:pt>
                <c:pt idx="175">
                  <c:v>81</c:v>
                </c:pt>
                <c:pt idx="176">
                  <c:v>68</c:v>
                </c:pt>
                <c:pt idx="177">
                  <c:v>79</c:v>
                </c:pt>
                <c:pt idx="178">
                  <c:v>85</c:v>
                </c:pt>
                <c:pt idx="179">
                  <c:v>18</c:v>
                </c:pt>
                <c:pt idx="180">
                  <c:v>12</c:v>
                </c:pt>
                <c:pt idx="181">
                  <c:v>135</c:v>
                </c:pt>
                <c:pt idx="182">
                  <c:v>67</c:v>
                </c:pt>
                <c:pt idx="183">
                  <c:v>102</c:v>
                </c:pt>
                <c:pt idx="184">
                  <c:v>49</c:v>
                </c:pt>
                <c:pt idx="185">
                  <c:v>51</c:v>
                </c:pt>
                <c:pt idx="186">
                  <c:v>19</c:v>
                </c:pt>
                <c:pt idx="187">
                  <c:v>15</c:v>
                </c:pt>
                <c:pt idx="188">
                  <c:v>88</c:v>
                </c:pt>
                <c:pt idx="189">
                  <c:v>116</c:v>
                </c:pt>
                <c:pt idx="190">
                  <c:v>84</c:v>
                </c:pt>
                <c:pt idx="191">
                  <c:v>38</c:v>
                </c:pt>
                <c:pt idx="192">
                  <c:v>43</c:v>
                </c:pt>
                <c:pt idx="193">
                  <c:v>20</c:v>
                </c:pt>
                <c:pt idx="194">
                  <c:v>13</c:v>
                </c:pt>
                <c:pt idx="195">
                  <c:v>65</c:v>
                </c:pt>
                <c:pt idx="196">
                  <c:v>43</c:v>
                </c:pt>
                <c:pt idx="197">
                  <c:v>30</c:v>
                </c:pt>
                <c:pt idx="198">
                  <c:v>53</c:v>
                </c:pt>
                <c:pt idx="199">
                  <c:v>38</c:v>
                </c:pt>
                <c:pt idx="200">
                  <c:v>10</c:v>
                </c:pt>
                <c:pt idx="201">
                  <c:v>8</c:v>
                </c:pt>
                <c:pt idx="202">
                  <c:v>45</c:v>
                </c:pt>
                <c:pt idx="203">
                  <c:v>47</c:v>
                </c:pt>
                <c:pt idx="204">
                  <c:v>30</c:v>
                </c:pt>
                <c:pt idx="205">
                  <c:v>39</c:v>
                </c:pt>
                <c:pt idx="206">
                  <c:v>22</c:v>
                </c:pt>
                <c:pt idx="207">
                  <c:v>6</c:v>
                </c:pt>
                <c:pt idx="208">
                  <c:v>5</c:v>
                </c:pt>
                <c:pt idx="209">
                  <c:v>40</c:v>
                </c:pt>
                <c:pt idx="210">
                  <c:v>24</c:v>
                </c:pt>
                <c:pt idx="211">
                  <c:v>22</c:v>
                </c:pt>
                <c:pt idx="212">
                  <c:v>21</c:v>
                </c:pt>
                <c:pt idx="213">
                  <c:v>6</c:v>
                </c:pt>
                <c:pt idx="214">
                  <c:v>6</c:v>
                </c:pt>
                <c:pt idx="215">
                  <c:v>4</c:v>
                </c:pt>
                <c:pt idx="216">
                  <c:v>6</c:v>
                </c:pt>
                <c:pt idx="217">
                  <c:v>27</c:v>
                </c:pt>
                <c:pt idx="218">
                  <c:v>34</c:v>
                </c:pt>
                <c:pt idx="219">
                  <c:v>17</c:v>
                </c:pt>
                <c:pt idx="220">
                  <c:v>11</c:v>
                </c:pt>
                <c:pt idx="221">
                  <c:v>6</c:v>
                </c:pt>
                <c:pt idx="222">
                  <c:v>1</c:v>
                </c:pt>
                <c:pt idx="223">
                  <c:v>9</c:v>
                </c:pt>
                <c:pt idx="224">
                  <c:v>8</c:v>
                </c:pt>
                <c:pt idx="225">
                  <c:v>5</c:v>
                </c:pt>
                <c:pt idx="226">
                  <c:v>9</c:v>
                </c:pt>
                <c:pt idx="227">
                  <c:v>7</c:v>
                </c:pt>
                <c:pt idx="228">
                  <c:v>2</c:v>
                </c:pt>
                <c:pt idx="229">
                  <c:v>2</c:v>
                </c:pt>
                <c:pt idx="230">
                  <c:v>15</c:v>
                </c:pt>
                <c:pt idx="231">
                  <c:v>7</c:v>
                </c:pt>
                <c:pt idx="232">
                  <c:v>7</c:v>
                </c:pt>
                <c:pt idx="233">
                  <c:v>13</c:v>
                </c:pt>
                <c:pt idx="234">
                  <c:v>7</c:v>
                </c:pt>
                <c:pt idx="235">
                  <c:v>2</c:v>
                </c:pt>
                <c:pt idx="236">
                  <c:v>0</c:v>
                </c:pt>
                <c:pt idx="237">
                  <c:v>9</c:v>
                </c:pt>
                <c:pt idx="238">
                  <c:v>10</c:v>
                </c:pt>
                <c:pt idx="239">
                  <c:v>3</c:v>
                </c:pt>
                <c:pt idx="240">
                  <c:v>4</c:v>
                </c:pt>
                <c:pt idx="241">
                  <c:v>6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3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6</c:v>
                </c:pt>
                <c:pt idx="252">
                  <c:v>6</c:v>
                </c:pt>
                <c:pt idx="253">
                  <c:v>0</c:v>
                </c:pt>
                <c:pt idx="254">
                  <c:v>4</c:v>
                </c:pt>
                <c:pt idx="255">
                  <c:v>4</c:v>
                </c:pt>
                <c:pt idx="256">
                  <c:v>1</c:v>
                </c:pt>
                <c:pt idx="257">
                  <c:v>0</c:v>
                </c:pt>
                <c:pt idx="258">
                  <c:v>8</c:v>
                </c:pt>
                <c:pt idx="259">
                  <c:v>4</c:v>
                </c:pt>
                <c:pt idx="260">
                  <c:v>4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4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5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3</c:v>
                </c:pt>
                <c:pt idx="407">
                  <c:v>21</c:v>
                </c:pt>
                <c:pt idx="408">
                  <c:v>6</c:v>
                </c:pt>
                <c:pt idx="409">
                  <c:v>8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2</c:v>
                </c:pt>
                <c:pt idx="414">
                  <c:v>13</c:v>
                </c:pt>
                <c:pt idx="415">
                  <c:v>9</c:v>
                </c:pt>
                <c:pt idx="416">
                  <c:v>15</c:v>
                </c:pt>
                <c:pt idx="417">
                  <c:v>1</c:v>
                </c:pt>
                <c:pt idx="418">
                  <c:v>4</c:v>
                </c:pt>
                <c:pt idx="419">
                  <c:v>33</c:v>
                </c:pt>
                <c:pt idx="420">
                  <c:v>14</c:v>
                </c:pt>
                <c:pt idx="421">
                  <c:v>28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6</c:v>
                </c:pt>
                <c:pt idx="427">
                  <c:v>38</c:v>
                </c:pt>
                <c:pt idx="428">
                  <c:v>35</c:v>
                </c:pt>
                <c:pt idx="429">
                  <c:v>76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79</c:v>
                </c:pt>
                <c:pt idx="434">
                  <c:v>54</c:v>
                </c:pt>
                <c:pt idx="435">
                  <c:v>44</c:v>
                </c:pt>
                <c:pt idx="436">
                  <c:v>54</c:v>
                </c:pt>
                <c:pt idx="437">
                  <c:v>51</c:v>
                </c:pt>
                <c:pt idx="438">
                  <c:v>33</c:v>
                </c:pt>
                <c:pt idx="439">
                  <c:v>28</c:v>
                </c:pt>
                <c:pt idx="440">
                  <c:v>98</c:v>
                </c:pt>
                <c:pt idx="441">
                  <c:v>65</c:v>
                </c:pt>
                <c:pt idx="442">
                  <c:v>36</c:v>
                </c:pt>
                <c:pt idx="443">
                  <c:v>97</c:v>
                </c:pt>
                <c:pt idx="444">
                  <c:v>136</c:v>
                </c:pt>
                <c:pt idx="445">
                  <c:v>37</c:v>
                </c:pt>
                <c:pt idx="446">
                  <c:v>16</c:v>
                </c:pt>
                <c:pt idx="447">
                  <c:v>116</c:v>
                </c:pt>
                <c:pt idx="448">
                  <c:v>67</c:v>
                </c:pt>
                <c:pt idx="449">
                  <c:v>86</c:v>
                </c:pt>
                <c:pt idx="450">
                  <c:v>77</c:v>
                </c:pt>
                <c:pt idx="451">
                  <c:v>100</c:v>
                </c:pt>
                <c:pt idx="452">
                  <c:v>27</c:v>
                </c:pt>
                <c:pt idx="453">
                  <c:v>15</c:v>
                </c:pt>
                <c:pt idx="454">
                  <c:v>85</c:v>
                </c:pt>
                <c:pt idx="455">
                  <c:v>62</c:v>
                </c:pt>
                <c:pt idx="456">
                  <c:v>70</c:v>
                </c:pt>
                <c:pt idx="457">
                  <c:v>63</c:v>
                </c:pt>
                <c:pt idx="458">
                  <c:v>40</c:v>
                </c:pt>
                <c:pt idx="459">
                  <c:v>59</c:v>
                </c:pt>
                <c:pt idx="460">
                  <c:v>15</c:v>
                </c:pt>
                <c:pt idx="461">
                  <c:v>77</c:v>
                </c:pt>
                <c:pt idx="462">
                  <c:v>57</c:v>
                </c:pt>
                <c:pt idx="463">
                  <c:v>51</c:v>
                </c:pt>
                <c:pt idx="464">
                  <c:v>56</c:v>
                </c:pt>
                <c:pt idx="465">
                  <c:v>46</c:v>
                </c:pt>
                <c:pt idx="466">
                  <c:v>19</c:v>
                </c:pt>
                <c:pt idx="467">
                  <c:v>7</c:v>
                </c:pt>
                <c:pt idx="468">
                  <c:v>46</c:v>
                </c:pt>
                <c:pt idx="469">
                  <c:v>63</c:v>
                </c:pt>
                <c:pt idx="470">
                  <c:v>43</c:v>
                </c:pt>
                <c:pt idx="471">
                  <c:v>24</c:v>
                </c:pt>
                <c:pt idx="472">
                  <c:v>25</c:v>
                </c:pt>
                <c:pt idx="473">
                  <c:v>10</c:v>
                </c:pt>
                <c:pt idx="474">
                  <c:v>13</c:v>
                </c:pt>
                <c:pt idx="475" formatCode="General">
                  <c:v>38</c:v>
                </c:pt>
                <c:pt idx="476" formatCode="General">
                  <c:v>19</c:v>
                </c:pt>
                <c:pt idx="477" formatCode="General">
                  <c:v>9</c:v>
                </c:pt>
                <c:pt idx="478" formatCode="General">
                  <c:v>15</c:v>
                </c:pt>
                <c:pt idx="479" formatCode="General">
                  <c:v>6</c:v>
                </c:pt>
                <c:pt idx="480" formatCode="General">
                  <c:v>4</c:v>
                </c:pt>
                <c:pt idx="481" formatCode="General">
                  <c:v>5</c:v>
                </c:pt>
                <c:pt idx="482" formatCode="General">
                  <c:v>16</c:v>
                </c:pt>
                <c:pt idx="483" formatCode="General">
                  <c:v>30</c:v>
                </c:pt>
                <c:pt idx="484" formatCode="General">
                  <c:v>15</c:v>
                </c:pt>
                <c:pt idx="485" formatCode="General">
                  <c:v>21</c:v>
                </c:pt>
                <c:pt idx="486" formatCode="General">
                  <c:v>17</c:v>
                </c:pt>
                <c:pt idx="487" formatCode="General">
                  <c:v>1</c:v>
                </c:pt>
                <c:pt idx="488" formatCode="General">
                  <c:v>1</c:v>
                </c:pt>
                <c:pt idx="489" formatCode="General">
                  <c:v>17</c:v>
                </c:pt>
                <c:pt idx="490" formatCode="General">
                  <c:v>23</c:v>
                </c:pt>
                <c:pt idx="491" formatCode="General">
                  <c:v>13</c:v>
                </c:pt>
                <c:pt idx="492" formatCode="General">
                  <c:v>12</c:v>
                </c:pt>
                <c:pt idx="493" formatCode="General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V$1</c:f>
              <c:strCache>
                <c:ptCount val="21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  <c:pt idx="20">
                  <c:v>01/2022</c:v>
                </c:pt>
              </c:strCache>
            </c:strRef>
          </c:cat>
          <c:val>
            <c:numRef>
              <c:f>List1!$B$2:$V$2</c:f>
              <c:numCache>
                <c:formatCode>General</c:formatCode>
                <c:ptCount val="21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2</c:v>
                </c:pt>
                <c:pt idx="18">
                  <c:v>645</c:v>
                </c:pt>
                <c:pt idx="19">
                  <c:v>586</c:v>
                </c:pt>
                <c:pt idx="20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5</c:f>
              <c:numCache>
                <c:formatCode>m/d/yyyy</c:formatCode>
                <c:ptCount val="49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</c:numCache>
            </c:numRef>
          </c:cat>
          <c:val>
            <c:numRef>
              <c:f>Sheet1!$B$2:$B$495</c:f>
              <c:numCache>
                <c:formatCode>#\ ##0_ ;\-#\ ##0\ </c:formatCode>
                <c:ptCount val="49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1</c:v>
                </c:pt>
                <c:pt idx="57">
                  <c:v>27</c:v>
                </c:pt>
                <c:pt idx="58">
                  <c:v>45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3</c:v>
                </c:pt>
                <c:pt idx="66">
                  <c:v>44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3</c:v>
                </c:pt>
                <c:pt idx="72">
                  <c:v>48</c:v>
                </c:pt>
                <c:pt idx="73">
                  <c:v>49</c:v>
                </c:pt>
                <c:pt idx="74">
                  <c:v>36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8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3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6</c:v>
                </c:pt>
                <c:pt idx="154">
                  <c:v>9</c:v>
                </c:pt>
                <c:pt idx="155">
                  <c:v>9</c:v>
                </c:pt>
                <c:pt idx="156">
                  <c:v>12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8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8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5</c:v>
                </c:pt>
                <c:pt idx="434">
                  <c:v>4</c:v>
                </c:pt>
                <c:pt idx="435">
                  <c:v>2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6</c:v>
                </c:pt>
                <c:pt idx="456">
                  <c:v>5</c:v>
                </c:pt>
                <c:pt idx="457">
                  <c:v>0</c:v>
                </c:pt>
                <c:pt idx="458">
                  <c:v>0</c:v>
                </c:pt>
                <c:pt idx="459">
                  <c:v>1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6</c:v>
                </c:pt>
                <c:pt idx="473">
                  <c:v>1</c:v>
                </c:pt>
                <c:pt idx="474">
                  <c:v>1</c:v>
                </c:pt>
                <c:pt idx="475">
                  <c:v>5</c:v>
                </c:pt>
                <c:pt idx="476">
                  <c:v>0</c:v>
                </c:pt>
                <c:pt idx="477">
                  <c:v>0</c:v>
                </c:pt>
                <c:pt idx="478">
                  <c:v>1</c:v>
                </c:pt>
                <c:pt idx="479">
                  <c:v>1</c:v>
                </c:pt>
                <c:pt idx="480">
                  <c:v>4</c:v>
                </c:pt>
                <c:pt idx="481">
                  <c:v>1</c:v>
                </c:pt>
                <c:pt idx="482">
                  <c:v>0</c:v>
                </c:pt>
                <c:pt idx="483">
                  <c:v>1</c:v>
                </c:pt>
                <c:pt idx="484">
                  <c:v>1</c:v>
                </c:pt>
                <c:pt idx="485">
                  <c:v>4</c:v>
                </c:pt>
                <c:pt idx="486">
                  <c:v>0</c:v>
                </c:pt>
                <c:pt idx="487">
                  <c:v>1</c:v>
                </c:pt>
                <c:pt idx="488" formatCode="General">
                  <c:v>0</c:v>
                </c:pt>
                <c:pt idx="489" formatCode="General">
                  <c:v>0</c:v>
                </c:pt>
                <c:pt idx="490" formatCode="General">
                  <c:v>3</c:v>
                </c:pt>
                <c:pt idx="491" formatCode="General">
                  <c:v>0</c:v>
                </c:pt>
                <c:pt idx="492" formatCode="General">
                  <c:v>3</c:v>
                </c:pt>
                <c:pt idx="493" formatCode="General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04</c:f>
              <c:numCache>
                <c:formatCode>m/d/yyyy</c:formatCode>
                <c:ptCount val="403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37</c:v>
                </c:pt>
                <c:pt idx="255">
                  <c:v>44340</c:v>
                </c:pt>
                <c:pt idx="256">
                  <c:v>44341</c:v>
                </c:pt>
                <c:pt idx="257">
                  <c:v>44342</c:v>
                </c:pt>
                <c:pt idx="258">
                  <c:v>44343</c:v>
                </c:pt>
                <c:pt idx="259">
                  <c:v>44349</c:v>
                </c:pt>
                <c:pt idx="260">
                  <c:v>44350</c:v>
                </c:pt>
                <c:pt idx="261">
                  <c:v>44358</c:v>
                </c:pt>
                <c:pt idx="262">
                  <c:v>44364</c:v>
                </c:pt>
                <c:pt idx="263">
                  <c:v>44370</c:v>
                </c:pt>
                <c:pt idx="264">
                  <c:v>44371</c:v>
                </c:pt>
                <c:pt idx="265">
                  <c:v>44377</c:v>
                </c:pt>
                <c:pt idx="266">
                  <c:v>44378</c:v>
                </c:pt>
                <c:pt idx="267">
                  <c:v>44381</c:v>
                </c:pt>
                <c:pt idx="268">
                  <c:v>44385</c:v>
                </c:pt>
                <c:pt idx="269">
                  <c:v>44388</c:v>
                </c:pt>
                <c:pt idx="270">
                  <c:v>44398</c:v>
                </c:pt>
                <c:pt idx="271">
                  <c:v>44401</c:v>
                </c:pt>
                <c:pt idx="272">
                  <c:v>44404</c:v>
                </c:pt>
                <c:pt idx="273">
                  <c:v>44405</c:v>
                </c:pt>
                <c:pt idx="274">
                  <c:v>44416</c:v>
                </c:pt>
                <c:pt idx="275">
                  <c:v>44419</c:v>
                </c:pt>
                <c:pt idx="276">
                  <c:v>44424</c:v>
                </c:pt>
                <c:pt idx="277">
                  <c:v>44425</c:v>
                </c:pt>
                <c:pt idx="278">
                  <c:v>44427</c:v>
                </c:pt>
                <c:pt idx="279">
                  <c:v>44431</c:v>
                </c:pt>
                <c:pt idx="280">
                  <c:v>44434</c:v>
                </c:pt>
                <c:pt idx="281">
                  <c:v>44435</c:v>
                </c:pt>
                <c:pt idx="282">
                  <c:v>44436</c:v>
                </c:pt>
                <c:pt idx="283">
                  <c:v>44440</c:v>
                </c:pt>
                <c:pt idx="284">
                  <c:v>44441</c:v>
                </c:pt>
                <c:pt idx="285">
                  <c:v>44442</c:v>
                </c:pt>
                <c:pt idx="286">
                  <c:v>44443</c:v>
                </c:pt>
                <c:pt idx="287">
                  <c:v>44445</c:v>
                </c:pt>
                <c:pt idx="288">
                  <c:v>44446</c:v>
                </c:pt>
                <c:pt idx="289">
                  <c:v>44447</c:v>
                </c:pt>
                <c:pt idx="290">
                  <c:v>44448</c:v>
                </c:pt>
                <c:pt idx="291">
                  <c:v>44451</c:v>
                </c:pt>
                <c:pt idx="292">
                  <c:v>44452</c:v>
                </c:pt>
                <c:pt idx="293">
                  <c:v>44453</c:v>
                </c:pt>
                <c:pt idx="294">
                  <c:v>44457</c:v>
                </c:pt>
                <c:pt idx="295">
                  <c:v>44459</c:v>
                </c:pt>
                <c:pt idx="296">
                  <c:v>44460</c:v>
                </c:pt>
                <c:pt idx="297">
                  <c:v>44461</c:v>
                </c:pt>
                <c:pt idx="298">
                  <c:v>44464</c:v>
                </c:pt>
                <c:pt idx="299">
                  <c:v>44465</c:v>
                </c:pt>
                <c:pt idx="300">
                  <c:v>44466</c:v>
                </c:pt>
                <c:pt idx="301">
                  <c:v>44467</c:v>
                </c:pt>
                <c:pt idx="302">
                  <c:v>44468</c:v>
                </c:pt>
                <c:pt idx="303">
                  <c:v>44469</c:v>
                </c:pt>
                <c:pt idx="304">
                  <c:v>44470</c:v>
                </c:pt>
                <c:pt idx="305">
                  <c:v>44471</c:v>
                </c:pt>
                <c:pt idx="306">
                  <c:v>44472</c:v>
                </c:pt>
                <c:pt idx="307">
                  <c:v>44473</c:v>
                </c:pt>
                <c:pt idx="308">
                  <c:v>44474</c:v>
                </c:pt>
                <c:pt idx="309">
                  <c:v>44475</c:v>
                </c:pt>
                <c:pt idx="310">
                  <c:v>44476</c:v>
                </c:pt>
                <c:pt idx="311">
                  <c:v>44477</c:v>
                </c:pt>
                <c:pt idx="312">
                  <c:v>44478</c:v>
                </c:pt>
                <c:pt idx="313">
                  <c:v>44480</c:v>
                </c:pt>
                <c:pt idx="314">
                  <c:v>44481</c:v>
                </c:pt>
                <c:pt idx="315">
                  <c:v>44482</c:v>
                </c:pt>
                <c:pt idx="316">
                  <c:v>44483</c:v>
                </c:pt>
                <c:pt idx="317">
                  <c:v>44484</c:v>
                </c:pt>
                <c:pt idx="318">
                  <c:v>44485</c:v>
                </c:pt>
                <c:pt idx="319">
                  <c:v>44486</c:v>
                </c:pt>
                <c:pt idx="320">
                  <c:v>44487</c:v>
                </c:pt>
                <c:pt idx="321">
                  <c:v>44488</c:v>
                </c:pt>
                <c:pt idx="322">
                  <c:v>44489</c:v>
                </c:pt>
                <c:pt idx="323">
                  <c:v>44490</c:v>
                </c:pt>
                <c:pt idx="324">
                  <c:v>44491</c:v>
                </c:pt>
                <c:pt idx="325">
                  <c:v>44492</c:v>
                </c:pt>
                <c:pt idx="326">
                  <c:v>44493</c:v>
                </c:pt>
                <c:pt idx="327">
                  <c:v>44494</c:v>
                </c:pt>
                <c:pt idx="328">
                  <c:v>44495</c:v>
                </c:pt>
                <c:pt idx="329">
                  <c:v>44496</c:v>
                </c:pt>
                <c:pt idx="330">
                  <c:v>44497</c:v>
                </c:pt>
                <c:pt idx="331">
                  <c:v>44498</c:v>
                </c:pt>
                <c:pt idx="332">
                  <c:v>44499</c:v>
                </c:pt>
                <c:pt idx="333">
                  <c:v>44500</c:v>
                </c:pt>
                <c:pt idx="334">
                  <c:v>44501</c:v>
                </c:pt>
                <c:pt idx="335">
                  <c:v>44502</c:v>
                </c:pt>
                <c:pt idx="336">
                  <c:v>44503</c:v>
                </c:pt>
                <c:pt idx="337">
                  <c:v>44504</c:v>
                </c:pt>
                <c:pt idx="338">
                  <c:v>44505</c:v>
                </c:pt>
                <c:pt idx="339">
                  <c:v>44506</c:v>
                </c:pt>
                <c:pt idx="340">
                  <c:v>44507</c:v>
                </c:pt>
                <c:pt idx="341">
                  <c:v>44508</c:v>
                </c:pt>
                <c:pt idx="342">
                  <c:v>44509</c:v>
                </c:pt>
                <c:pt idx="343">
                  <c:v>44510</c:v>
                </c:pt>
                <c:pt idx="344">
                  <c:v>44511</c:v>
                </c:pt>
                <c:pt idx="345">
                  <c:v>44512</c:v>
                </c:pt>
                <c:pt idx="346">
                  <c:v>44513</c:v>
                </c:pt>
                <c:pt idx="347">
                  <c:v>44514</c:v>
                </c:pt>
                <c:pt idx="348">
                  <c:v>44515</c:v>
                </c:pt>
                <c:pt idx="349">
                  <c:v>44516</c:v>
                </c:pt>
                <c:pt idx="350">
                  <c:v>44517</c:v>
                </c:pt>
                <c:pt idx="351">
                  <c:v>44518</c:v>
                </c:pt>
                <c:pt idx="352">
                  <c:v>44519</c:v>
                </c:pt>
                <c:pt idx="353">
                  <c:v>44520</c:v>
                </c:pt>
                <c:pt idx="354">
                  <c:v>44521</c:v>
                </c:pt>
                <c:pt idx="355">
                  <c:v>44522</c:v>
                </c:pt>
                <c:pt idx="356">
                  <c:v>44523</c:v>
                </c:pt>
                <c:pt idx="357">
                  <c:v>44524</c:v>
                </c:pt>
                <c:pt idx="358">
                  <c:v>44525</c:v>
                </c:pt>
                <c:pt idx="359">
                  <c:v>44526</c:v>
                </c:pt>
                <c:pt idx="360">
                  <c:v>44527</c:v>
                </c:pt>
                <c:pt idx="361">
                  <c:v>44528</c:v>
                </c:pt>
                <c:pt idx="362">
                  <c:v>44529</c:v>
                </c:pt>
                <c:pt idx="363">
                  <c:v>44530</c:v>
                </c:pt>
                <c:pt idx="364">
                  <c:v>44531</c:v>
                </c:pt>
                <c:pt idx="365">
                  <c:v>44532</c:v>
                </c:pt>
                <c:pt idx="366">
                  <c:v>44533</c:v>
                </c:pt>
                <c:pt idx="367">
                  <c:v>44534</c:v>
                </c:pt>
                <c:pt idx="368">
                  <c:v>44535</c:v>
                </c:pt>
                <c:pt idx="369">
                  <c:v>44536</c:v>
                </c:pt>
                <c:pt idx="370">
                  <c:v>44537</c:v>
                </c:pt>
                <c:pt idx="371">
                  <c:v>44538</c:v>
                </c:pt>
                <c:pt idx="372">
                  <c:v>44539</c:v>
                </c:pt>
                <c:pt idx="373">
                  <c:v>44540</c:v>
                </c:pt>
                <c:pt idx="374">
                  <c:v>44541</c:v>
                </c:pt>
                <c:pt idx="375">
                  <c:v>44542</c:v>
                </c:pt>
                <c:pt idx="376">
                  <c:v>44543</c:v>
                </c:pt>
                <c:pt idx="377">
                  <c:v>44544</c:v>
                </c:pt>
                <c:pt idx="378">
                  <c:v>44545</c:v>
                </c:pt>
                <c:pt idx="379">
                  <c:v>44546</c:v>
                </c:pt>
                <c:pt idx="380">
                  <c:v>44547</c:v>
                </c:pt>
                <c:pt idx="381">
                  <c:v>44548</c:v>
                </c:pt>
                <c:pt idx="382">
                  <c:v>44549</c:v>
                </c:pt>
                <c:pt idx="383">
                  <c:v>44550</c:v>
                </c:pt>
                <c:pt idx="384">
                  <c:v>44551</c:v>
                </c:pt>
                <c:pt idx="385">
                  <c:v>44552</c:v>
                </c:pt>
                <c:pt idx="386">
                  <c:v>44553</c:v>
                </c:pt>
                <c:pt idx="387">
                  <c:v>44554</c:v>
                </c:pt>
                <c:pt idx="388">
                  <c:v>44555</c:v>
                </c:pt>
                <c:pt idx="389">
                  <c:v>44556</c:v>
                </c:pt>
                <c:pt idx="390">
                  <c:v>44557</c:v>
                </c:pt>
                <c:pt idx="391">
                  <c:v>44558</c:v>
                </c:pt>
                <c:pt idx="392">
                  <c:v>44559</c:v>
                </c:pt>
                <c:pt idx="393">
                  <c:v>44560</c:v>
                </c:pt>
                <c:pt idx="394">
                  <c:v>44561</c:v>
                </c:pt>
                <c:pt idx="395">
                  <c:v>44562</c:v>
                </c:pt>
                <c:pt idx="396">
                  <c:v>44563</c:v>
                </c:pt>
                <c:pt idx="397">
                  <c:v>44564</c:v>
                </c:pt>
                <c:pt idx="398">
                  <c:v>44565</c:v>
                </c:pt>
                <c:pt idx="399">
                  <c:v>44566</c:v>
                </c:pt>
                <c:pt idx="400">
                  <c:v>44567</c:v>
                </c:pt>
                <c:pt idx="401">
                  <c:v>44568</c:v>
                </c:pt>
                <c:pt idx="402">
                  <c:v>44569</c:v>
                </c:pt>
              </c:numCache>
            </c:numRef>
          </c:cat>
          <c:val>
            <c:numRef>
              <c:f>Sheet1!$B$2:$B$404</c:f>
              <c:numCache>
                <c:formatCode>General</c:formatCode>
                <c:ptCount val="40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1</c:v>
                </c:pt>
                <c:pt idx="25">
                  <c:v>8</c:v>
                </c:pt>
                <c:pt idx="26">
                  <c:v>9</c:v>
                </c:pt>
                <c:pt idx="27">
                  <c:v>18</c:v>
                </c:pt>
                <c:pt idx="28">
                  <c:v>9</c:v>
                </c:pt>
                <c:pt idx="29">
                  <c:v>7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36</c:v>
                </c:pt>
                <c:pt idx="39">
                  <c:v>49</c:v>
                </c:pt>
                <c:pt idx="40">
                  <c:v>33</c:v>
                </c:pt>
                <c:pt idx="41">
                  <c:v>40</c:v>
                </c:pt>
                <c:pt idx="42">
                  <c:v>25</c:v>
                </c:pt>
                <c:pt idx="43">
                  <c:v>16</c:v>
                </c:pt>
                <c:pt idx="44">
                  <c:v>42</c:v>
                </c:pt>
                <c:pt idx="45">
                  <c:v>40</c:v>
                </c:pt>
                <c:pt idx="46">
                  <c:v>53</c:v>
                </c:pt>
                <c:pt idx="47">
                  <c:v>62</c:v>
                </c:pt>
                <c:pt idx="48">
                  <c:v>74</c:v>
                </c:pt>
                <c:pt idx="49">
                  <c:v>45</c:v>
                </c:pt>
                <c:pt idx="50">
                  <c:v>33</c:v>
                </c:pt>
                <c:pt idx="51">
                  <c:v>78</c:v>
                </c:pt>
                <c:pt idx="52">
                  <c:v>70</c:v>
                </c:pt>
                <c:pt idx="53">
                  <c:v>42</c:v>
                </c:pt>
                <c:pt idx="54">
                  <c:v>84</c:v>
                </c:pt>
                <c:pt idx="55">
                  <c:v>95</c:v>
                </c:pt>
                <c:pt idx="56">
                  <c:v>37</c:v>
                </c:pt>
                <c:pt idx="57">
                  <c:v>37</c:v>
                </c:pt>
                <c:pt idx="58">
                  <c:v>63</c:v>
                </c:pt>
                <c:pt idx="59">
                  <c:v>63</c:v>
                </c:pt>
                <c:pt idx="60">
                  <c:v>64</c:v>
                </c:pt>
                <c:pt idx="61">
                  <c:v>78</c:v>
                </c:pt>
                <c:pt idx="62">
                  <c:v>84</c:v>
                </c:pt>
                <c:pt idx="63">
                  <c:v>31</c:v>
                </c:pt>
                <c:pt idx="64">
                  <c:v>16</c:v>
                </c:pt>
                <c:pt idx="65">
                  <c:v>53</c:v>
                </c:pt>
                <c:pt idx="66">
                  <c:v>72</c:v>
                </c:pt>
                <c:pt idx="67">
                  <c:v>117</c:v>
                </c:pt>
                <c:pt idx="68">
                  <c:v>91</c:v>
                </c:pt>
                <c:pt idx="69">
                  <c:v>79</c:v>
                </c:pt>
                <c:pt idx="70">
                  <c:v>43</c:v>
                </c:pt>
                <c:pt idx="71">
                  <c:v>23</c:v>
                </c:pt>
                <c:pt idx="72">
                  <c:v>65</c:v>
                </c:pt>
                <c:pt idx="73">
                  <c:v>26</c:v>
                </c:pt>
                <c:pt idx="74">
                  <c:v>47</c:v>
                </c:pt>
                <c:pt idx="75">
                  <c:v>59</c:v>
                </c:pt>
                <c:pt idx="76">
                  <c:v>50</c:v>
                </c:pt>
                <c:pt idx="77">
                  <c:v>20</c:v>
                </c:pt>
                <c:pt idx="78">
                  <c:v>13</c:v>
                </c:pt>
                <c:pt idx="79">
                  <c:v>67</c:v>
                </c:pt>
                <c:pt idx="80">
                  <c:v>40</c:v>
                </c:pt>
                <c:pt idx="81">
                  <c:v>25</c:v>
                </c:pt>
                <c:pt idx="82">
                  <c:v>34</c:v>
                </c:pt>
                <c:pt idx="83">
                  <c:v>27</c:v>
                </c:pt>
                <c:pt idx="84">
                  <c:v>15</c:v>
                </c:pt>
                <c:pt idx="85">
                  <c:v>13</c:v>
                </c:pt>
                <c:pt idx="86">
                  <c:v>41</c:v>
                </c:pt>
                <c:pt idx="87">
                  <c:v>33</c:v>
                </c:pt>
                <c:pt idx="88">
                  <c:v>27</c:v>
                </c:pt>
                <c:pt idx="89">
                  <c:v>22</c:v>
                </c:pt>
                <c:pt idx="90">
                  <c:v>36</c:v>
                </c:pt>
                <c:pt idx="91">
                  <c:v>20</c:v>
                </c:pt>
                <c:pt idx="92">
                  <c:v>10</c:v>
                </c:pt>
                <c:pt idx="93">
                  <c:v>34</c:v>
                </c:pt>
                <c:pt idx="94">
                  <c:v>28</c:v>
                </c:pt>
                <c:pt idx="95">
                  <c:v>33</c:v>
                </c:pt>
                <c:pt idx="96">
                  <c:v>24</c:v>
                </c:pt>
                <c:pt idx="97">
                  <c:v>33</c:v>
                </c:pt>
                <c:pt idx="98">
                  <c:v>18</c:v>
                </c:pt>
                <c:pt idx="99">
                  <c:v>24</c:v>
                </c:pt>
                <c:pt idx="100">
                  <c:v>36</c:v>
                </c:pt>
                <c:pt idx="101">
                  <c:v>26</c:v>
                </c:pt>
                <c:pt idx="102">
                  <c:v>27</c:v>
                </c:pt>
                <c:pt idx="103">
                  <c:v>14</c:v>
                </c:pt>
                <c:pt idx="104">
                  <c:v>39</c:v>
                </c:pt>
                <c:pt idx="105">
                  <c:v>15</c:v>
                </c:pt>
                <c:pt idx="106">
                  <c:v>6</c:v>
                </c:pt>
                <c:pt idx="107">
                  <c:v>30</c:v>
                </c:pt>
                <c:pt idx="108">
                  <c:v>41</c:v>
                </c:pt>
                <c:pt idx="109">
                  <c:v>20</c:v>
                </c:pt>
                <c:pt idx="110">
                  <c:v>5</c:v>
                </c:pt>
                <c:pt idx="111">
                  <c:v>21</c:v>
                </c:pt>
                <c:pt idx="112">
                  <c:v>17</c:v>
                </c:pt>
                <c:pt idx="113">
                  <c:v>19</c:v>
                </c:pt>
                <c:pt idx="114">
                  <c:v>20</c:v>
                </c:pt>
                <c:pt idx="115">
                  <c:v>44</c:v>
                </c:pt>
                <c:pt idx="116">
                  <c:v>25</c:v>
                </c:pt>
                <c:pt idx="117">
                  <c:v>36</c:v>
                </c:pt>
                <c:pt idx="118">
                  <c:v>19</c:v>
                </c:pt>
                <c:pt idx="119">
                  <c:v>14</c:v>
                </c:pt>
                <c:pt idx="120">
                  <c:v>5</c:v>
                </c:pt>
                <c:pt idx="121">
                  <c:v>32</c:v>
                </c:pt>
                <c:pt idx="122">
                  <c:v>30</c:v>
                </c:pt>
                <c:pt idx="123">
                  <c:v>36</c:v>
                </c:pt>
                <c:pt idx="124">
                  <c:v>40</c:v>
                </c:pt>
                <c:pt idx="125">
                  <c:v>33</c:v>
                </c:pt>
                <c:pt idx="126">
                  <c:v>15</c:v>
                </c:pt>
                <c:pt idx="127">
                  <c:v>8</c:v>
                </c:pt>
                <c:pt idx="128">
                  <c:v>51</c:v>
                </c:pt>
                <c:pt idx="129">
                  <c:v>24</c:v>
                </c:pt>
                <c:pt idx="130">
                  <c:v>22</c:v>
                </c:pt>
                <c:pt idx="131">
                  <c:v>13</c:v>
                </c:pt>
                <c:pt idx="132">
                  <c:v>20</c:v>
                </c:pt>
                <c:pt idx="133">
                  <c:v>12</c:v>
                </c:pt>
                <c:pt idx="134">
                  <c:v>15</c:v>
                </c:pt>
                <c:pt idx="135">
                  <c:v>29</c:v>
                </c:pt>
                <c:pt idx="136">
                  <c:v>23</c:v>
                </c:pt>
                <c:pt idx="137">
                  <c:v>38</c:v>
                </c:pt>
                <c:pt idx="138">
                  <c:v>23</c:v>
                </c:pt>
                <c:pt idx="139">
                  <c:v>21</c:v>
                </c:pt>
                <c:pt idx="140">
                  <c:v>7</c:v>
                </c:pt>
                <c:pt idx="141">
                  <c:v>9</c:v>
                </c:pt>
                <c:pt idx="142">
                  <c:v>21</c:v>
                </c:pt>
                <c:pt idx="143">
                  <c:v>12</c:v>
                </c:pt>
                <c:pt idx="144">
                  <c:v>21</c:v>
                </c:pt>
                <c:pt idx="145">
                  <c:v>11</c:v>
                </c:pt>
                <c:pt idx="146">
                  <c:v>8</c:v>
                </c:pt>
                <c:pt idx="147">
                  <c:v>10</c:v>
                </c:pt>
                <c:pt idx="148">
                  <c:v>5</c:v>
                </c:pt>
                <c:pt idx="149">
                  <c:v>21</c:v>
                </c:pt>
                <c:pt idx="150">
                  <c:v>20</c:v>
                </c:pt>
                <c:pt idx="151">
                  <c:v>13</c:v>
                </c:pt>
                <c:pt idx="152">
                  <c:v>20</c:v>
                </c:pt>
                <c:pt idx="153">
                  <c:v>15</c:v>
                </c:pt>
                <c:pt idx="154">
                  <c:v>5</c:v>
                </c:pt>
                <c:pt idx="155">
                  <c:v>5</c:v>
                </c:pt>
                <c:pt idx="156">
                  <c:v>14</c:v>
                </c:pt>
                <c:pt idx="157">
                  <c:v>15</c:v>
                </c:pt>
                <c:pt idx="158">
                  <c:v>16</c:v>
                </c:pt>
                <c:pt idx="159">
                  <c:v>11</c:v>
                </c:pt>
                <c:pt idx="160">
                  <c:v>13</c:v>
                </c:pt>
                <c:pt idx="161">
                  <c:v>2</c:v>
                </c:pt>
                <c:pt idx="162">
                  <c:v>3</c:v>
                </c:pt>
                <c:pt idx="163">
                  <c:v>8</c:v>
                </c:pt>
                <c:pt idx="164">
                  <c:v>7</c:v>
                </c:pt>
                <c:pt idx="165">
                  <c:v>7</c:v>
                </c:pt>
                <c:pt idx="166">
                  <c:v>9</c:v>
                </c:pt>
                <c:pt idx="167">
                  <c:v>5</c:v>
                </c:pt>
                <c:pt idx="168">
                  <c:v>10</c:v>
                </c:pt>
                <c:pt idx="169">
                  <c:v>3</c:v>
                </c:pt>
                <c:pt idx="170">
                  <c:v>21</c:v>
                </c:pt>
                <c:pt idx="171">
                  <c:v>15</c:v>
                </c:pt>
                <c:pt idx="172">
                  <c:v>7</c:v>
                </c:pt>
                <c:pt idx="173">
                  <c:v>11</c:v>
                </c:pt>
                <c:pt idx="174">
                  <c:v>7</c:v>
                </c:pt>
                <c:pt idx="175">
                  <c:v>3</c:v>
                </c:pt>
                <c:pt idx="176">
                  <c:v>1</c:v>
                </c:pt>
                <c:pt idx="177">
                  <c:v>10</c:v>
                </c:pt>
                <c:pt idx="178">
                  <c:v>7</c:v>
                </c:pt>
                <c:pt idx="179">
                  <c:v>8</c:v>
                </c:pt>
                <c:pt idx="180">
                  <c:v>4</c:v>
                </c:pt>
                <c:pt idx="181">
                  <c:v>7</c:v>
                </c:pt>
                <c:pt idx="182">
                  <c:v>2</c:v>
                </c:pt>
                <c:pt idx="183">
                  <c:v>3</c:v>
                </c:pt>
                <c:pt idx="184">
                  <c:v>6</c:v>
                </c:pt>
                <c:pt idx="185">
                  <c:v>7</c:v>
                </c:pt>
                <c:pt idx="186">
                  <c:v>10</c:v>
                </c:pt>
                <c:pt idx="187">
                  <c:v>3</c:v>
                </c:pt>
                <c:pt idx="188">
                  <c:v>5</c:v>
                </c:pt>
                <c:pt idx="189">
                  <c:v>5</c:v>
                </c:pt>
                <c:pt idx="190">
                  <c:v>3</c:v>
                </c:pt>
                <c:pt idx="191">
                  <c:v>9</c:v>
                </c:pt>
                <c:pt idx="192">
                  <c:v>9</c:v>
                </c:pt>
                <c:pt idx="193">
                  <c:v>1</c:v>
                </c:pt>
                <c:pt idx="194">
                  <c:v>8</c:v>
                </c:pt>
                <c:pt idx="195">
                  <c:v>11</c:v>
                </c:pt>
                <c:pt idx="196">
                  <c:v>3</c:v>
                </c:pt>
                <c:pt idx="197">
                  <c:v>2</c:v>
                </c:pt>
                <c:pt idx="198">
                  <c:v>5</c:v>
                </c:pt>
                <c:pt idx="199">
                  <c:v>6</c:v>
                </c:pt>
                <c:pt idx="200">
                  <c:v>3</c:v>
                </c:pt>
                <c:pt idx="201">
                  <c:v>2</c:v>
                </c:pt>
                <c:pt idx="202">
                  <c:v>1</c:v>
                </c:pt>
                <c:pt idx="203">
                  <c:v>2</c:v>
                </c:pt>
                <c:pt idx="204">
                  <c:v>0</c:v>
                </c:pt>
                <c:pt idx="205">
                  <c:v>2</c:v>
                </c:pt>
                <c:pt idx="206">
                  <c:v>1</c:v>
                </c:pt>
                <c:pt idx="207">
                  <c:v>1</c:v>
                </c:pt>
                <c:pt idx="208">
                  <c:v>2</c:v>
                </c:pt>
                <c:pt idx="209">
                  <c:v>1</c:v>
                </c:pt>
                <c:pt idx="210">
                  <c:v>2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5</c:v>
                </c:pt>
                <c:pt idx="215">
                  <c:v>0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1</c:v>
                </c:pt>
                <c:pt idx="220">
                  <c:v>3</c:v>
                </c:pt>
                <c:pt idx="221">
                  <c:v>0</c:v>
                </c:pt>
                <c:pt idx="222">
                  <c:v>1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1</c:v>
                </c:pt>
                <c:pt idx="227">
                  <c:v>1</c:v>
                </c:pt>
                <c:pt idx="228">
                  <c:v>2</c:v>
                </c:pt>
                <c:pt idx="229">
                  <c:v>2</c:v>
                </c:pt>
                <c:pt idx="230">
                  <c:v>1</c:v>
                </c:pt>
                <c:pt idx="231">
                  <c:v>0</c:v>
                </c:pt>
                <c:pt idx="232">
                  <c:v>0</c:v>
                </c:pt>
                <c:pt idx="233">
                  <c:v>4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1</c:v>
                </c:pt>
                <c:pt idx="243">
                  <c:v>0</c:v>
                </c:pt>
                <c:pt idx="244">
                  <c:v>2</c:v>
                </c:pt>
                <c:pt idx="245">
                  <c:v>3</c:v>
                </c:pt>
                <c:pt idx="246">
                  <c:v>1</c:v>
                </c:pt>
                <c:pt idx="247">
                  <c:v>2</c:v>
                </c:pt>
                <c:pt idx="248">
                  <c:v>2</c:v>
                </c:pt>
                <c:pt idx="249">
                  <c:v>1</c:v>
                </c:pt>
                <c:pt idx="250">
                  <c:v>1</c:v>
                </c:pt>
                <c:pt idx="251">
                  <c:v>0</c:v>
                </c:pt>
                <c:pt idx="252">
                  <c:v>2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2</c:v>
                </c:pt>
                <c:pt idx="260">
                  <c:v>1</c:v>
                </c:pt>
                <c:pt idx="261">
                  <c:v>0</c:v>
                </c:pt>
                <c:pt idx="262">
                  <c:v>1</c:v>
                </c:pt>
                <c:pt idx="263">
                  <c:v>1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1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1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2</c:v>
                </c:pt>
                <c:pt idx="284">
                  <c:v>2</c:v>
                </c:pt>
                <c:pt idx="285">
                  <c:v>1</c:v>
                </c:pt>
                <c:pt idx="286">
                  <c:v>0</c:v>
                </c:pt>
                <c:pt idx="287">
                  <c:v>2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2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1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3</c:v>
                </c:pt>
                <c:pt idx="310">
                  <c:v>1</c:v>
                </c:pt>
                <c:pt idx="311">
                  <c:v>2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3</c:v>
                </c:pt>
                <c:pt idx="316">
                  <c:v>1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4</c:v>
                </c:pt>
                <c:pt idx="321">
                  <c:v>0</c:v>
                </c:pt>
                <c:pt idx="322">
                  <c:v>1</c:v>
                </c:pt>
                <c:pt idx="323">
                  <c:v>0</c:v>
                </c:pt>
                <c:pt idx="324">
                  <c:v>2</c:v>
                </c:pt>
                <c:pt idx="325">
                  <c:v>0</c:v>
                </c:pt>
                <c:pt idx="326">
                  <c:v>0</c:v>
                </c:pt>
                <c:pt idx="327">
                  <c:v>4</c:v>
                </c:pt>
                <c:pt idx="328">
                  <c:v>2</c:v>
                </c:pt>
                <c:pt idx="329">
                  <c:v>2</c:v>
                </c:pt>
                <c:pt idx="330">
                  <c:v>0</c:v>
                </c:pt>
                <c:pt idx="331">
                  <c:v>5</c:v>
                </c:pt>
                <c:pt idx="332">
                  <c:v>3</c:v>
                </c:pt>
                <c:pt idx="333">
                  <c:v>2</c:v>
                </c:pt>
                <c:pt idx="334">
                  <c:v>8</c:v>
                </c:pt>
                <c:pt idx="335">
                  <c:v>6</c:v>
                </c:pt>
                <c:pt idx="336">
                  <c:v>5</c:v>
                </c:pt>
                <c:pt idx="337">
                  <c:v>3</c:v>
                </c:pt>
                <c:pt idx="338">
                  <c:v>6</c:v>
                </c:pt>
                <c:pt idx="339">
                  <c:v>1</c:v>
                </c:pt>
                <c:pt idx="340">
                  <c:v>1</c:v>
                </c:pt>
                <c:pt idx="341">
                  <c:v>5</c:v>
                </c:pt>
                <c:pt idx="342">
                  <c:v>7</c:v>
                </c:pt>
                <c:pt idx="343">
                  <c:v>4</c:v>
                </c:pt>
                <c:pt idx="344">
                  <c:v>6</c:v>
                </c:pt>
                <c:pt idx="345">
                  <c:v>2</c:v>
                </c:pt>
                <c:pt idx="346">
                  <c:v>5</c:v>
                </c:pt>
                <c:pt idx="347">
                  <c:v>2</c:v>
                </c:pt>
                <c:pt idx="348">
                  <c:v>7</c:v>
                </c:pt>
                <c:pt idx="349">
                  <c:v>7</c:v>
                </c:pt>
                <c:pt idx="350">
                  <c:v>6</c:v>
                </c:pt>
                <c:pt idx="351">
                  <c:v>12</c:v>
                </c:pt>
                <c:pt idx="352">
                  <c:v>7</c:v>
                </c:pt>
                <c:pt idx="353">
                  <c:v>3</c:v>
                </c:pt>
                <c:pt idx="354">
                  <c:v>3</c:v>
                </c:pt>
                <c:pt idx="355">
                  <c:v>12</c:v>
                </c:pt>
                <c:pt idx="356">
                  <c:v>5</c:v>
                </c:pt>
                <c:pt idx="357">
                  <c:v>15</c:v>
                </c:pt>
                <c:pt idx="358">
                  <c:v>3</c:v>
                </c:pt>
                <c:pt idx="359">
                  <c:v>8</c:v>
                </c:pt>
                <c:pt idx="360">
                  <c:v>1</c:v>
                </c:pt>
                <c:pt idx="361">
                  <c:v>3</c:v>
                </c:pt>
                <c:pt idx="362">
                  <c:v>7</c:v>
                </c:pt>
                <c:pt idx="363">
                  <c:v>4</c:v>
                </c:pt>
                <c:pt idx="364">
                  <c:v>7</c:v>
                </c:pt>
                <c:pt idx="365">
                  <c:v>6</c:v>
                </c:pt>
                <c:pt idx="366">
                  <c:v>4</c:v>
                </c:pt>
                <c:pt idx="367">
                  <c:v>5</c:v>
                </c:pt>
                <c:pt idx="368">
                  <c:v>2</c:v>
                </c:pt>
                <c:pt idx="369">
                  <c:v>9</c:v>
                </c:pt>
                <c:pt idx="370">
                  <c:v>3</c:v>
                </c:pt>
                <c:pt idx="371">
                  <c:v>5</c:v>
                </c:pt>
                <c:pt idx="372">
                  <c:v>5</c:v>
                </c:pt>
                <c:pt idx="373">
                  <c:v>6</c:v>
                </c:pt>
                <c:pt idx="374">
                  <c:v>2</c:v>
                </c:pt>
                <c:pt idx="375">
                  <c:v>0</c:v>
                </c:pt>
                <c:pt idx="376">
                  <c:v>5</c:v>
                </c:pt>
                <c:pt idx="377">
                  <c:v>2</c:v>
                </c:pt>
                <c:pt idx="378">
                  <c:v>1</c:v>
                </c:pt>
                <c:pt idx="379">
                  <c:v>3</c:v>
                </c:pt>
                <c:pt idx="380">
                  <c:v>2</c:v>
                </c:pt>
                <c:pt idx="381">
                  <c:v>1</c:v>
                </c:pt>
                <c:pt idx="382">
                  <c:v>1</c:v>
                </c:pt>
                <c:pt idx="383">
                  <c:v>7</c:v>
                </c:pt>
                <c:pt idx="384">
                  <c:v>2</c:v>
                </c:pt>
                <c:pt idx="385">
                  <c:v>2</c:v>
                </c:pt>
                <c:pt idx="386">
                  <c:v>2</c:v>
                </c:pt>
                <c:pt idx="387">
                  <c:v>0</c:v>
                </c:pt>
                <c:pt idx="388">
                  <c:v>1</c:v>
                </c:pt>
                <c:pt idx="389">
                  <c:v>0</c:v>
                </c:pt>
                <c:pt idx="390">
                  <c:v>3</c:v>
                </c:pt>
                <c:pt idx="391">
                  <c:v>3</c:v>
                </c:pt>
                <c:pt idx="392">
                  <c:v>3</c:v>
                </c:pt>
                <c:pt idx="393">
                  <c:v>0</c:v>
                </c:pt>
                <c:pt idx="394">
                  <c:v>3</c:v>
                </c:pt>
                <c:pt idx="395">
                  <c:v>1</c:v>
                </c:pt>
                <c:pt idx="396">
                  <c:v>0</c:v>
                </c:pt>
                <c:pt idx="397">
                  <c:v>3</c:v>
                </c:pt>
                <c:pt idx="398">
                  <c:v>1</c:v>
                </c:pt>
                <c:pt idx="399">
                  <c:v>1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03</c:f>
              <c:numCache>
                <c:formatCode>m/d/yyyy</c:formatCode>
                <c:ptCount val="402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37</c:v>
                </c:pt>
                <c:pt idx="254">
                  <c:v>44340</c:v>
                </c:pt>
                <c:pt idx="255">
                  <c:v>44341</c:v>
                </c:pt>
                <c:pt idx="256">
                  <c:v>44342</c:v>
                </c:pt>
                <c:pt idx="257">
                  <c:v>44343</c:v>
                </c:pt>
                <c:pt idx="258">
                  <c:v>44349</c:v>
                </c:pt>
                <c:pt idx="259">
                  <c:v>44350</c:v>
                </c:pt>
                <c:pt idx="260">
                  <c:v>44358</c:v>
                </c:pt>
                <c:pt idx="261">
                  <c:v>44364</c:v>
                </c:pt>
                <c:pt idx="262">
                  <c:v>44370</c:v>
                </c:pt>
                <c:pt idx="263">
                  <c:v>44371</c:v>
                </c:pt>
                <c:pt idx="264">
                  <c:v>44377</c:v>
                </c:pt>
                <c:pt idx="265">
                  <c:v>44378</c:v>
                </c:pt>
                <c:pt idx="266">
                  <c:v>44381</c:v>
                </c:pt>
                <c:pt idx="267">
                  <c:v>44385</c:v>
                </c:pt>
                <c:pt idx="268">
                  <c:v>44388</c:v>
                </c:pt>
                <c:pt idx="269">
                  <c:v>44398</c:v>
                </c:pt>
                <c:pt idx="270">
                  <c:v>44401</c:v>
                </c:pt>
                <c:pt idx="271">
                  <c:v>44404</c:v>
                </c:pt>
                <c:pt idx="272">
                  <c:v>44405</c:v>
                </c:pt>
                <c:pt idx="273">
                  <c:v>44416</c:v>
                </c:pt>
                <c:pt idx="274">
                  <c:v>44419</c:v>
                </c:pt>
                <c:pt idx="275">
                  <c:v>44424</c:v>
                </c:pt>
                <c:pt idx="276">
                  <c:v>44425</c:v>
                </c:pt>
                <c:pt idx="277">
                  <c:v>44427</c:v>
                </c:pt>
                <c:pt idx="278">
                  <c:v>44431</c:v>
                </c:pt>
                <c:pt idx="279">
                  <c:v>44434</c:v>
                </c:pt>
                <c:pt idx="280">
                  <c:v>44435</c:v>
                </c:pt>
                <c:pt idx="281">
                  <c:v>44436</c:v>
                </c:pt>
                <c:pt idx="282">
                  <c:v>44440</c:v>
                </c:pt>
                <c:pt idx="283">
                  <c:v>44441</c:v>
                </c:pt>
                <c:pt idx="284">
                  <c:v>44442</c:v>
                </c:pt>
                <c:pt idx="285">
                  <c:v>44443</c:v>
                </c:pt>
                <c:pt idx="286">
                  <c:v>44445</c:v>
                </c:pt>
                <c:pt idx="287">
                  <c:v>44446</c:v>
                </c:pt>
                <c:pt idx="288">
                  <c:v>44447</c:v>
                </c:pt>
                <c:pt idx="289">
                  <c:v>44448</c:v>
                </c:pt>
                <c:pt idx="290">
                  <c:v>44451</c:v>
                </c:pt>
                <c:pt idx="291">
                  <c:v>44452</c:v>
                </c:pt>
                <c:pt idx="292">
                  <c:v>44453</c:v>
                </c:pt>
                <c:pt idx="293">
                  <c:v>44457</c:v>
                </c:pt>
                <c:pt idx="294">
                  <c:v>44459</c:v>
                </c:pt>
                <c:pt idx="295">
                  <c:v>44460</c:v>
                </c:pt>
                <c:pt idx="296">
                  <c:v>44461</c:v>
                </c:pt>
                <c:pt idx="297">
                  <c:v>44464</c:v>
                </c:pt>
                <c:pt idx="298">
                  <c:v>44465</c:v>
                </c:pt>
                <c:pt idx="299">
                  <c:v>44466</c:v>
                </c:pt>
                <c:pt idx="300">
                  <c:v>44467</c:v>
                </c:pt>
                <c:pt idx="301">
                  <c:v>44468</c:v>
                </c:pt>
                <c:pt idx="302">
                  <c:v>44469</c:v>
                </c:pt>
                <c:pt idx="303">
                  <c:v>44470</c:v>
                </c:pt>
                <c:pt idx="304">
                  <c:v>44471</c:v>
                </c:pt>
                <c:pt idx="305">
                  <c:v>44472</c:v>
                </c:pt>
                <c:pt idx="306">
                  <c:v>44473</c:v>
                </c:pt>
                <c:pt idx="307">
                  <c:v>44474</c:v>
                </c:pt>
                <c:pt idx="308">
                  <c:v>44475</c:v>
                </c:pt>
                <c:pt idx="309">
                  <c:v>44476</c:v>
                </c:pt>
                <c:pt idx="310">
                  <c:v>44477</c:v>
                </c:pt>
                <c:pt idx="311">
                  <c:v>44478</c:v>
                </c:pt>
                <c:pt idx="312">
                  <c:v>44480</c:v>
                </c:pt>
                <c:pt idx="313">
                  <c:v>44481</c:v>
                </c:pt>
                <c:pt idx="314">
                  <c:v>44482</c:v>
                </c:pt>
                <c:pt idx="315">
                  <c:v>44483</c:v>
                </c:pt>
                <c:pt idx="316">
                  <c:v>44484</c:v>
                </c:pt>
                <c:pt idx="317">
                  <c:v>44485</c:v>
                </c:pt>
                <c:pt idx="318">
                  <c:v>44486</c:v>
                </c:pt>
                <c:pt idx="319">
                  <c:v>44487</c:v>
                </c:pt>
                <c:pt idx="320">
                  <c:v>44488</c:v>
                </c:pt>
                <c:pt idx="321">
                  <c:v>44489</c:v>
                </c:pt>
                <c:pt idx="322">
                  <c:v>44490</c:v>
                </c:pt>
                <c:pt idx="323">
                  <c:v>44491</c:v>
                </c:pt>
                <c:pt idx="324">
                  <c:v>44492</c:v>
                </c:pt>
                <c:pt idx="325">
                  <c:v>44493</c:v>
                </c:pt>
                <c:pt idx="326">
                  <c:v>44494</c:v>
                </c:pt>
                <c:pt idx="327">
                  <c:v>44495</c:v>
                </c:pt>
                <c:pt idx="328">
                  <c:v>44496</c:v>
                </c:pt>
                <c:pt idx="329">
                  <c:v>44497</c:v>
                </c:pt>
                <c:pt idx="330">
                  <c:v>44498</c:v>
                </c:pt>
                <c:pt idx="331">
                  <c:v>44499</c:v>
                </c:pt>
                <c:pt idx="332">
                  <c:v>44500</c:v>
                </c:pt>
                <c:pt idx="333">
                  <c:v>44501</c:v>
                </c:pt>
                <c:pt idx="334">
                  <c:v>44502</c:v>
                </c:pt>
                <c:pt idx="335">
                  <c:v>44503</c:v>
                </c:pt>
                <c:pt idx="336">
                  <c:v>44504</c:v>
                </c:pt>
                <c:pt idx="337">
                  <c:v>44505</c:v>
                </c:pt>
                <c:pt idx="338">
                  <c:v>44506</c:v>
                </c:pt>
                <c:pt idx="339">
                  <c:v>44507</c:v>
                </c:pt>
                <c:pt idx="340">
                  <c:v>44508</c:v>
                </c:pt>
                <c:pt idx="341">
                  <c:v>44509</c:v>
                </c:pt>
                <c:pt idx="342">
                  <c:v>44510</c:v>
                </c:pt>
                <c:pt idx="343">
                  <c:v>44511</c:v>
                </c:pt>
                <c:pt idx="344">
                  <c:v>44512</c:v>
                </c:pt>
                <c:pt idx="345">
                  <c:v>44513</c:v>
                </c:pt>
                <c:pt idx="346">
                  <c:v>44514</c:v>
                </c:pt>
                <c:pt idx="347">
                  <c:v>44515</c:v>
                </c:pt>
                <c:pt idx="348">
                  <c:v>44516</c:v>
                </c:pt>
                <c:pt idx="349">
                  <c:v>44517</c:v>
                </c:pt>
                <c:pt idx="350">
                  <c:v>44518</c:v>
                </c:pt>
                <c:pt idx="351">
                  <c:v>44519</c:v>
                </c:pt>
                <c:pt idx="352">
                  <c:v>44520</c:v>
                </c:pt>
                <c:pt idx="353">
                  <c:v>44521</c:v>
                </c:pt>
                <c:pt idx="354">
                  <c:v>44522</c:v>
                </c:pt>
                <c:pt idx="355">
                  <c:v>44523</c:v>
                </c:pt>
                <c:pt idx="356">
                  <c:v>44524</c:v>
                </c:pt>
                <c:pt idx="357">
                  <c:v>44525</c:v>
                </c:pt>
                <c:pt idx="358">
                  <c:v>44526</c:v>
                </c:pt>
                <c:pt idx="359">
                  <c:v>44527</c:v>
                </c:pt>
                <c:pt idx="360">
                  <c:v>44528</c:v>
                </c:pt>
                <c:pt idx="361">
                  <c:v>44529</c:v>
                </c:pt>
                <c:pt idx="362">
                  <c:v>44530</c:v>
                </c:pt>
                <c:pt idx="363">
                  <c:v>44531</c:v>
                </c:pt>
                <c:pt idx="364">
                  <c:v>44532</c:v>
                </c:pt>
                <c:pt idx="365">
                  <c:v>44533</c:v>
                </c:pt>
                <c:pt idx="366">
                  <c:v>44534</c:v>
                </c:pt>
                <c:pt idx="367">
                  <c:v>44535</c:v>
                </c:pt>
                <c:pt idx="368">
                  <c:v>44536</c:v>
                </c:pt>
                <c:pt idx="369">
                  <c:v>44537</c:v>
                </c:pt>
                <c:pt idx="370">
                  <c:v>44538</c:v>
                </c:pt>
                <c:pt idx="371">
                  <c:v>44539</c:v>
                </c:pt>
                <c:pt idx="372">
                  <c:v>44540</c:v>
                </c:pt>
                <c:pt idx="373">
                  <c:v>44541</c:v>
                </c:pt>
                <c:pt idx="374">
                  <c:v>44542</c:v>
                </c:pt>
                <c:pt idx="375">
                  <c:v>44543</c:v>
                </c:pt>
                <c:pt idx="376">
                  <c:v>44544</c:v>
                </c:pt>
                <c:pt idx="377">
                  <c:v>44545</c:v>
                </c:pt>
                <c:pt idx="378">
                  <c:v>44546</c:v>
                </c:pt>
                <c:pt idx="379">
                  <c:v>44547</c:v>
                </c:pt>
                <c:pt idx="380">
                  <c:v>44548</c:v>
                </c:pt>
                <c:pt idx="381">
                  <c:v>44549</c:v>
                </c:pt>
                <c:pt idx="382">
                  <c:v>44550</c:v>
                </c:pt>
                <c:pt idx="383">
                  <c:v>44551</c:v>
                </c:pt>
                <c:pt idx="384">
                  <c:v>44552</c:v>
                </c:pt>
                <c:pt idx="385">
                  <c:v>44553</c:v>
                </c:pt>
                <c:pt idx="386">
                  <c:v>44554</c:v>
                </c:pt>
                <c:pt idx="387">
                  <c:v>44555</c:v>
                </c:pt>
                <c:pt idx="388">
                  <c:v>44556</c:v>
                </c:pt>
                <c:pt idx="389">
                  <c:v>44557</c:v>
                </c:pt>
                <c:pt idx="390">
                  <c:v>44558</c:v>
                </c:pt>
                <c:pt idx="391">
                  <c:v>44559</c:v>
                </c:pt>
                <c:pt idx="392">
                  <c:v>44560</c:v>
                </c:pt>
                <c:pt idx="393">
                  <c:v>44561</c:v>
                </c:pt>
                <c:pt idx="394">
                  <c:v>44562</c:v>
                </c:pt>
                <c:pt idx="395">
                  <c:v>44563</c:v>
                </c:pt>
                <c:pt idx="396">
                  <c:v>44564</c:v>
                </c:pt>
                <c:pt idx="397">
                  <c:v>44565</c:v>
                </c:pt>
                <c:pt idx="398">
                  <c:v>44566</c:v>
                </c:pt>
                <c:pt idx="399">
                  <c:v>44567</c:v>
                </c:pt>
                <c:pt idx="400">
                  <c:v>44568</c:v>
                </c:pt>
                <c:pt idx="401">
                  <c:v>44569</c:v>
                </c:pt>
              </c:numCache>
            </c:numRef>
          </c:cat>
          <c:val>
            <c:numRef>
              <c:f>Sheet1!$B$2:$B$403</c:f>
              <c:numCache>
                <c:formatCode>General</c:formatCode>
                <c:ptCount val="40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3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5</c:v>
                </c:pt>
                <c:pt idx="40">
                  <c:v>18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4</c:v>
                </c:pt>
                <c:pt idx="45">
                  <c:v>20</c:v>
                </c:pt>
                <c:pt idx="46">
                  <c:v>18</c:v>
                </c:pt>
                <c:pt idx="47">
                  <c:v>28</c:v>
                </c:pt>
                <c:pt idx="48">
                  <c:v>7</c:v>
                </c:pt>
                <c:pt idx="49">
                  <c:v>7</c:v>
                </c:pt>
                <c:pt idx="50">
                  <c:v>28</c:v>
                </c:pt>
                <c:pt idx="51">
                  <c:v>18</c:v>
                </c:pt>
                <c:pt idx="52">
                  <c:v>11</c:v>
                </c:pt>
                <c:pt idx="53">
                  <c:v>20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3</c:v>
                </c:pt>
                <c:pt idx="59">
                  <c:v>21</c:v>
                </c:pt>
                <c:pt idx="60">
                  <c:v>9</c:v>
                </c:pt>
                <c:pt idx="61">
                  <c:v>16</c:v>
                </c:pt>
                <c:pt idx="62">
                  <c:v>10</c:v>
                </c:pt>
                <c:pt idx="63">
                  <c:v>6</c:v>
                </c:pt>
                <c:pt idx="64">
                  <c:v>10</c:v>
                </c:pt>
                <c:pt idx="65">
                  <c:v>16</c:v>
                </c:pt>
                <c:pt idx="66">
                  <c:v>25</c:v>
                </c:pt>
                <c:pt idx="67">
                  <c:v>14</c:v>
                </c:pt>
                <c:pt idx="68">
                  <c:v>19</c:v>
                </c:pt>
                <c:pt idx="69">
                  <c:v>9</c:v>
                </c:pt>
                <c:pt idx="70">
                  <c:v>4</c:v>
                </c:pt>
                <c:pt idx="71">
                  <c:v>18</c:v>
                </c:pt>
                <c:pt idx="72">
                  <c:v>9</c:v>
                </c:pt>
                <c:pt idx="73">
                  <c:v>12</c:v>
                </c:pt>
                <c:pt idx="74">
                  <c:v>12</c:v>
                </c:pt>
                <c:pt idx="75">
                  <c:v>13</c:v>
                </c:pt>
                <c:pt idx="76">
                  <c:v>4</c:v>
                </c:pt>
                <c:pt idx="77">
                  <c:v>3</c:v>
                </c:pt>
                <c:pt idx="78">
                  <c:v>15</c:v>
                </c:pt>
                <c:pt idx="79">
                  <c:v>9</c:v>
                </c:pt>
                <c:pt idx="80">
                  <c:v>7</c:v>
                </c:pt>
                <c:pt idx="81">
                  <c:v>9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2</c:v>
                </c:pt>
                <c:pt idx="89">
                  <c:v>8</c:v>
                </c:pt>
                <c:pt idx="90">
                  <c:v>3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5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6</c:v>
                </c:pt>
                <c:pt idx="102">
                  <c:v>3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8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4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7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5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7</c:v>
                </c:pt>
                <c:pt idx="142">
                  <c:v>1</c:v>
                </c:pt>
                <c:pt idx="143">
                  <c:v>2</c:v>
                </c:pt>
                <c:pt idx="144">
                  <c:v>2</c:v>
                </c:pt>
                <c:pt idx="145">
                  <c:v>1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3</c:v>
                </c:pt>
                <c:pt idx="154">
                  <c:v>1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0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0</c:v>
                </c:pt>
                <c:pt idx="169">
                  <c:v>1</c:v>
                </c:pt>
                <c:pt idx="170">
                  <c:v>4</c:v>
                </c:pt>
                <c:pt idx="171">
                  <c:v>1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2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0</c:v>
                </c:pt>
                <c:pt idx="191">
                  <c:v>2</c:v>
                </c:pt>
                <c:pt idx="192">
                  <c:v>0</c:v>
                </c:pt>
                <c:pt idx="193">
                  <c:v>3</c:v>
                </c:pt>
                <c:pt idx="194">
                  <c:v>0</c:v>
                </c:pt>
                <c:pt idx="195">
                  <c:v>1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1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1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2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1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1</c:v>
                </c:pt>
                <c:pt idx="309">
                  <c:v>1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1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3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1</c:v>
                </c:pt>
                <c:pt idx="331">
                  <c:v>0</c:v>
                </c:pt>
                <c:pt idx="332">
                  <c:v>1</c:v>
                </c:pt>
                <c:pt idx="333">
                  <c:v>1</c:v>
                </c:pt>
                <c:pt idx="334">
                  <c:v>1</c:v>
                </c:pt>
                <c:pt idx="335">
                  <c:v>1</c:v>
                </c:pt>
                <c:pt idx="336">
                  <c:v>0</c:v>
                </c:pt>
                <c:pt idx="337">
                  <c:v>1</c:v>
                </c:pt>
                <c:pt idx="338">
                  <c:v>0</c:v>
                </c:pt>
                <c:pt idx="339">
                  <c:v>1</c:v>
                </c:pt>
                <c:pt idx="340">
                  <c:v>0</c:v>
                </c:pt>
                <c:pt idx="341">
                  <c:v>3</c:v>
                </c:pt>
                <c:pt idx="342">
                  <c:v>0</c:v>
                </c:pt>
                <c:pt idx="343">
                  <c:v>1</c:v>
                </c:pt>
                <c:pt idx="344">
                  <c:v>0</c:v>
                </c:pt>
                <c:pt idx="345">
                  <c:v>2</c:v>
                </c:pt>
                <c:pt idx="346">
                  <c:v>2</c:v>
                </c:pt>
                <c:pt idx="347">
                  <c:v>1</c:v>
                </c:pt>
                <c:pt idx="348">
                  <c:v>1</c:v>
                </c:pt>
                <c:pt idx="349">
                  <c:v>0</c:v>
                </c:pt>
                <c:pt idx="350">
                  <c:v>6</c:v>
                </c:pt>
                <c:pt idx="351">
                  <c:v>3</c:v>
                </c:pt>
                <c:pt idx="352">
                  <c:v>1</c:v>
                </c:pt>
                <c:pt idx="353">
                  <c:v>2</c:v>
                </c:pt>
                <c:pt idx="354">
                  <c:v>2</c:v>
                </c:pt>
                <c:pt idx="355">
                  <c:v>0</c:v>
                </c:pt>
                <c:pt idx="356">
                  <c:v>5</c:v>
                </c:pt>
                <c:pt idx="357">
                  <c:v>0</c:v>
                </c:pt>
                <c:pt idx="358">
                  <c:v>1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1</c:v>
                </c:pt>
                <c:pt idx="365">
                  <c:v>0</c:v>
                </c:pt>
                <c:pt idx="366">
                  <c:v>0</c:v>
                </c:pt>
                <c:pt idx="367">
                  <c:v>1</c:v>
                </c:pt>
                <c:pt idx="368">
                  <c:v>1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1</c:v>
                </c:pt>
                <c:pt idx="380">
                  <c:v>0</c:v>
                </c:pt>
                <c:pt idx="381">
                  <c:v>0</c:v>
                </c:pt>
                <c:pt idx="382">
                  <c:v>2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1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13</c:v>
                </c:pt>
                <c:pt idx="1">
                  <c:v>90</c:v>
                </c:pt>
                <c:pt idx="2">
                  <c:v>107</c:v>
                </c:pt>
                <c:pt idx="3">
                  <c:v>119</c:v>
                </c:pt>
                <c:pt idx="4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3</c:v>
                </c:pt>
                <c:pt idx="1">
                  <c:v>170</c:v>
                </c:pt>
                <c:pt idx="2">
                  <c:v>106</c:v>
                </c:pt>
                <c:pt idx="3">
                  <c:v>70</c:v>
                </c:pt>
                <c:pt idx="4">
                  <c:v>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12.–
2.1.</c:v>
                </c:pt>
                <c:pt idx="1">
                  <c:v>3.1.–
9.1.</c:v>
                </c:pt>
                <c:pt idx="2">
                  <c:v>10.1.–
16.1.</c:v>
                </c:pt>
                <c:pt idx="3">
                  <c:v>17.1.–
23.1.</c:v>
                </c:pt>
                <c:pt idx="4">
                  <c:v>24.1.–
30.1.</c:v>
                </c:pt>
                <c:pt idx="5">
                  <c:v>31.1.–
6.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3</c:v>
                </c:pt>
                <c:pt idx="1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780126802944675</c:v>
                </c:pt>
                <c:pt idx="1">
                  <c:v>0.18219873197055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6800000000000002</c:v>
                </c:pt>
                <c:pt idx="1">
                  <c:v>0.23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3300000000000001</c:v>
                </c:pt>
                <c:pt idx="1">
                  <c:v>0.36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70499999999999996</c:v>
                </c:pt>
                <c:pt idx="1">
                  <c:v>0.294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9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9.xml"/><Relationship Id="rId5" Type="http://schemas.openxmlformats.org/officeDocument/2006/relationships/tags" Target="../tags/tag15.xml"/><Relationship Id="rId10" Type="http://schemas.openxmlformats.org/officeDocument/2006/relationships/chart" Target="../charts/chart8.xml"/><Relationship Id="rId4" Type="http://schemas.openxmlformats.org/officeDocument/2006/relationships/tags" Target="../tags/tag14.xml"/><Relationship Id="rId9" Type="http://schemas.openxmlformats.org/officeDocument/2006/relationships/chart" Target="../charts/char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1.xml"/><Relationship Id="rId5" Type="http://schemas.openxmlformats.org/officeDocument/2006/relationships/tags" Target="../tags/tag22.xml"/><Relationship Id="rId10" Type="http://schemas.openxmlformats.org/officeDocument/2006/relationships/chart" Target="../charts/chart10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chart" Target="../charts/chart2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2. – 8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8. 1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7456250"/>
              </p:ext>
            </p:extLst>
          </p:nvPr>
        </p:nvGraphicFramePr>
        <p:xfrm>
          <a:off x="1372685" y="1009674"/>
          <a:ext cx="9684753" cy="550315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56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humanity - Azylový dů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Loucký Mlý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8858216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729976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1434954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807813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CP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458843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ZAŠOVÁ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029633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GAPO Bruntá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73075400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Šluknov-Krásná Lípa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43765106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verka Jiř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4100000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7637571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59814256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98455694"/>
                  </a:ext>
                </a:extLst>
              </a:tr>
              <a:tr h="1895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Ječmínek 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58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1" y="622249"/>
            <a:ext cx="113270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o šíření nákazy v pobytových sociálních službách je ze strany poskytovatelů reprezentativní, celý systém dosahuje více než 81% pokrytí tohoto segmentu péče. Za celé období sledování od podzimu 2020 bylo registrováno přes 24 500 nakažených klientů a více než 17 500 nakažených pracovníků. Hlášení o úmrtích COVID pozitivních klientů přesáhlo 3 400, pracovníků zemřelo 21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53656" y="194887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7618" y="2483419"/>
            <a:ext cx="1178744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49 nákaz pracovníků a 818 nákaz klientů pobytových sociálních služeb. Počet hlášených úmrtí klientů dosáhnul v listopadu hodnoty 112. Ačkoli šlo o výrazný nárůst, stále se jednalo o počty významně nižší než v zimních až jarních měsících 2021. Za prosinec bylo dosud na bázi přímého hlášení od poskytovatelů sociálních služeb registrováno 575 nákaz u personálu a 404 nákaz u klientů. Celkem </a:t>
            </a:r>
            <a:r>
              <a:rPr lang="cs-CZ" sz="2200" b="1" dirty="0">
                <a:latin typeface="Calibri" panose="020F0502020204030204"/>
              </a:rPr>
              <a:t>7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kažených klientů zemřelo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96776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-75509" y="5631707"/>
            <a:ext cx="1178744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dnu bylo dosud nahlášeno 48 případů nákazy personálu a 29 klientů, </a:t>
            </a:r>
            <a:r>
              <a:rPr lang="cs-CZ" sz="2200" b="1" dirty="0">
                <a:solidFill>
                  <a:srgbClr val="0000FF"/>
                </a:solidFill>
                <a:latin typeface="Calibri" panose="020F0502020204030204"/>
              </a:rPr>
              <a:t>z nichž 8 zemřelo.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případů s těžkým průběhem nákazy, zejména vyžadujícím hospitalizaci, zůstávají nízké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jednotkách případů denně v celé </a:t>
            </a:r>
            <a:r>
              <a:rPr lang="cs-CZ" sz="2200" b="1" dirty="0">
                <a:solidFill>
                  <a:srgbClr val="0000FF"/>
                </a:solidFill>
                <a:latin typeface="Calibri" panose="020F0502020204030204"/>
              </a:rPr>
              <a:t>Č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odnadpis 4">
            <a:extLst>
              <a:ext uri="{FF2B5EF4-FFF2-40B4-BE49-F238E27FC236}">
                <a16:creationId xmlns:a16="http://schemas.microsoft.com/office/drawing/2014/main" id="{8B62E79B-CD80-47C0-8863-8E66984EC330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Hlášení poskytovatelů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4622241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9046122"/>
              </p:ext>
            </p:extLst>
          </p:nvPr>
        </p:nvGraphicFramePr>
        <p:xfrm>
          <a:off x="2093976" y="3310410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1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7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6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7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1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2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78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907544"/>
            <a:ext cx="36618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áz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PS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en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438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 547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ien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102 57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k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Tyt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s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n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Z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ho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álníh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IN 1724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edis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81,8%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76567234"/>
              </p:ext>
            </p:ext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85692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302770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7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1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7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9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6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8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7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61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760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421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7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2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6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7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42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8. 1. 2022</a:t>
            </a:r>
          </a:p>
        </p:txBody>
      </p:sp>
    </p:spTree>
    <p:extLst>
      <p:ext uri="{BB962C8B-B14F-4D97-AF65-F5344CB8AC3E}">
        <p14:creationId xmlns:p14="http://schemas.microsoft.com/office/powerpoint/2010/main" val="14254027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6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540765" y="2971287"/>
          <a:ext cx="10115198" cy="3255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8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7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5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5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2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42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579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8. 1. 2022</a:t>
            </a:r>
          </a:p>
        </p:txBody>
      </p:sp>
    </p:spTree>
    <p:extLst>
      <p:ext uri="{BB962C8B-B14F-4D97-AF65-F5344CB8AC3E}">
        <p14:creationId xmlns:p14="http://schemas.microsoft.com/office/powerpoint/2010/main" val="22578832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8. 1. 2022</a:t>
            </a:r>
          </a:p>
        </p:txBody>
      </p:sp>
    </p:spTree>
    <p:extLst>
      <p:ext uri="{BB962C8B-B14F-4D97-AF65-F5344CB8AC3E}">
        <p14:creationId xmlns:p14="http://schemas.microsoft.com/office/powerpoint/2010/main" val="18724663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8. 1. 2022</a:t>
            </a:r>
          </a:p>
        </p:txBody>
      </p:sp>
    </p:spTree>
    <p:extLst>
      <p:ext uri="{BB962C8B-B14F-4D97-AF65-F5344CB8AC3E}">
        <p14:creationId xmlns:p14="http://schemas.microsoft.com/office/powerpoint/2010/main" val="2327011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8023368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4598818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4928516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0079294"/>
              </p:ext>
            </p:extLst>
          </p:nvPr>
        </p:nvGraphicFramePr>
        <p:xfrm>
          <a:off x="136358" y="988368"/>
          <a:ext cx="11895238" cy="5633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3802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</a:t>
                      </a:r>
                    </a:p>
                    <a:p>
                      <a:pPr algn="ctr"/>
                      <a:r>
                        <a:rPr lang="cs-CZ" sz="1200" dirty="0"/>
                        <a:t>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/>
                        <a:t>Září </a:t>
                      </a:r>
                    </a:p>
                    <a:p>
                      <a:pPr algn="ctr"/>
                      <a:r>
                        <a:rPr lang="cs-CZ" sz="1200"/>
                        <a:t>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8. 1. 22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75197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9684060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EA3F3409-560C-4B9F-89F0-F5AF9408008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718238"/>
              </p:ext>
            </p:extLst>
          </p:nvPr>
        </p:nvGraphicFramePr>
        <p:xfrm>
          <a:off x="136358" y="988368"/>
          <a:ext cx="11895238" cy="5633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3802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</a:t>
                      </a:r>
                    </a:p>
                    <a:p>
                      <a:pPr algn="ctr"/>
                      <a:r>
                        <a:rPr lang="cs-CZ" sz="1200" dirty="0"/>
                        <a:t>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</a:t>
                      </a:r>
                    </a:p>
                    <a:p>
                      <a:pPr algn="ctr"/>
                      <a:r>
                        <a:rPr lang="cs-CZ" sz="1200" dirty="0"/>
                        <a:t>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8. 1. 22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30783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7229738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0202405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66699" y="934450"/>
            <a:ext cx="1132702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Šlo ale o počty, které byly velmi významně nižší ve srovnání např. s jarem 2021. KHS identifikovaly za říjen 15 ohnisek v sociálních zařízeních (celkem 181 nakažených osob) a za listopad 38 ohnisek s celkem 663 dosud zařazenými nakaženými osobami. Za prosinec 2021 bylo z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 strany KHS identifikováno a nahlášeno 42 událostí v sociálních službách s celkem 586 nakaženými osobami. </a:t>
            </a:r>
          </a:p>
          <a:p>
            <a:pPr algn="ctr">
              <a:defRPr/>
            </a:pP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a leden 2022 jsou dosud hlášeny 4 události se 46 nakaženými (stav k 8.1.) </a:t>
            </a:r>
          </a:p>
          <a:p>
            <a:pPr algn="ctr">
              <a:defRPr/>
            </a:pPr>
            <a:endParaRPr lang="cs-CZ" sz="24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e srovnání s jarem 2021 jde stále o velmi nízké počty a při dělení na kraje pouze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o jednotkové výskyty nákazy. </a:t>
            </a:r>
            <a:r>
              <a:rPr lang="cs-CZ" sz="2400" b="1" dirty="0">
                <a:solidFill>
                  <a:srgbClr val="0000FF"/>
                </a:solidFill>
                <a:latin typeface="Calibri" panose="020F0502020204030204"/>
              </a:rPr>
              <a:t>Tato data ukazují, že situace v sociálních zařízeních je stále pod kontrolou, velký ochranný efekt hraje vakcinace a také samozřejmě počet klientů, kteří prodělali nákazu v uplynulém období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23343" y="5994400"/>
            <a:ext cx="1319062" cy="67267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dnadpis 4">
            <a:extLst>
              <a:ext uri="{FF2B5EF4-FFF2-40B4-BE49-F238E27FC236}">
                <a16:creationId xmlns:a16="http://schemas.microsoft.com/office/drawing/2014/main" id="{FD2CE6B4-35B6-4010-B3CB-EE34C0274624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Výstupy šetření KHS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3023129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8. 1. 202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81D70FC-F528-494D-8C3A-D477F854D763}"/>
              </a:ext>
            </a:extLst>
          </p:cNvPr>
          <p:cNvSpPr/>
          <p:nvPr/>
        </p:nvSpPr>
        <p:spPr>
          <a:xfrm>
            <a:off x="10842357" y="3390334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předběžné údaj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E67781F-87FB-42C9-899D-4460B89C4830}"/>
              </a:ext>
            </a:extLst>
          </p:cNvPr>
          <p:cNvSpPr/>
          <p:nvPr/>
        </p:nvSpPr>
        <p:spPr>
          <a:xfrm>
            <a:off x="11753266" y="4716302"/>
            <a:ext cx="2487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0AD9C87-45B0-4A92-8550-C36458B464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3798766"/>
              </p:ext>
            </p:extLst>
          </p:nvPr>
        </p:nvGraphicFramePr>
        <p:xfrm>
          <a:off x="1000125" y="5723958"/>
          <a:ext cx="10944241" cy="731520"/>
        </p:xfrm>
        <a:graphic>
          <a:graphicData uri="http://schemas.openxmlformats.org/drawingml/2006/table">
            <a:tbl>
              <a:tblPr/>
              <a:tblGrid>
                <a:gridCol w="122969">
                  <a:extLst>
                    <a:ext uri="{9D8B030D-6E8A-4147-A177-3AD203B41FA5}">
                      <a16:colId xmlns:a16="http://schemas.microsoft.com/office/drawing/2014/main" val="2942068646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948334696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151999923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977344940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797116417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448854580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108168282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419618531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628504299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241443862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165060206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388255264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852545814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1650307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565583224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4094385899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963632125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039448186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121964797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426680912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361586733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299886566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972354802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736163592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738128405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4283792664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165752694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63279451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4012496166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733167602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644280859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383065445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238578120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4270360072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155552120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691289348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749511023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724475191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261308141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851447670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445994243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059046279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258471880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33877168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419718963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48263373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493254048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166790844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045506289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281475466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656285788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604971823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228030191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406277344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167324211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342046368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625916707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147932488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4044124120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23967370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538720674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148415389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173045670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840504394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360593591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58642290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520102208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740866617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149873069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039080692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792055766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83129083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708107459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408913411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558551428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039801292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4969746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738637883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532561487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353093816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323030924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495221536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2027956375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82544447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169919302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727501087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53313541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3481093567"/>
                    </a:ext>
                  </a:extLst>
                </a:gridCol>
                <a:gridCol w="122969">
                  <a:extLst>
                    <a:ext uri="{9D8B030D-6E8A-4147-A177-3AD203B41FA5}">
                      <a16:colId xmlns:a16="http://schemas.microsoft.com/office/drawing/2014/main" val="1315321541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438422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22254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802625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9871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3210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9DFCE333-DD33-471A-A080-C1020D2CEC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435403"/>
              </p:ext>
            </p:extLst>
          </p:nvPr>
        </p:nvGraphicFramePr>
        <p:xfrm>
          <a:off x="7428782" y="5737703"/>
          <a:ext cx="4564854" cy="731520"/>
        </p:xfrm>
        <a:graphic>
          <a:graphicData uri="http://schemas.openxmlformats.org/drawingml/2006/table">
            <a:tbl>
              <a:tblPr/>
              <a:tblGrid>
                <a:gridCol w="217374">
                  <a:extLst>
                    <a:ext uri="{9D8B030D-6E8A-4147-A177-3AD203B41FA5}">
                      <a16:colId xmlns:a16="http://schemas.microsoft.com/office/drawing/2014/main" val="160689591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19745777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69973363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26219939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07795035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801782003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8361318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21700433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10317936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01763416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960936467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82683695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1783629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49863010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15924520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836410927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45617582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22106555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1554106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8371196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048648757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974313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5059692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8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1296280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1/2022 k 8. 1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619445" y="5534255"/>
            <a:ext cx="4956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8. 1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1681642"/>
              </p:ext>
            </p:extLst>
          </p:nvPr>
        </p:nvGraphicFramePr>
        <p:xfrm>
          <a:off x="47625" y="989354"/>
          <a:ext cx="6437722" cy="5416275"/>
        </p:xfrm>
        <a:graphic>
          <a:graphicData uri="http://schemas.openxmlformats.org/drawingml/2006/table">
            <a:tbl>
              <a:tblPr/>
              <a:tblGrid>
                <a:gridCol w="546434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459635882"/>
                    </a:ext>
                  </a:extLst>
                </a:gridCol>
              </a:tblGrid>
              <a:tr h="6649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8. 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63ED1944-9A78-4036-86FC-55DE3FA04D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5262040"/>
              </p:ext>
            </p:extLst>
          </p:nvPr>
        </p:nvGraphicFramePr>
        <p:xfrm>
          <a:off x="7428782" y="1219781"/>
          <a:ext cx="4564854" cy="517639"/>
        </p:xfrm>
        <a:graphic>
          <a:graphicData uri="http://schemas.openxmlformats.org/drawingml/2006/table">
            <a:tbl>
              <a:tblPr/>
              <a:tblGrid>
                <a:gridCol w="217374">
                  <a:extLst>
                    <a:ext uri="{9D8B030D-6E8A-4147-A177-3AD203B41FA5}">
                      <a16:colId xmlns:a16="http://schemas.microsoft.com/office/drawing/2014/main" val="375136833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56671002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05684366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7832587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04818536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62570430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35573483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77519445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60072838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7467571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66035317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4330264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424426261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62427149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7919695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53359244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91337830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58026353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67468472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919923383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666594402"/>
                    </a:ext>
                  </a:extLst>
                </a:gridCol>
              </a:tblGrid>
              <a:tr h="10028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2715766"/>
                  </a:ext>
                </a:extLst>
              </a:tr>
              <a:tr h="4173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28734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892388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2025"/>
              </p:ext>
            </p:extLst>
          </p:nvPr>
        </p:nvGraphicFramePr>
        <p:xfrm>
          <a:off x="1372685" y="1009673"/>
          <a:ext cx="9684753" cy="52387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60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051097BD-73E6-4BA2-91A9-E329A719F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0584393"/>
              </p:ext>
            </p:extLst>
          </p:nvPr>
        </p:nvGraphicFramePr>
        <p:xfrm>
          <a:off x="8685801" y="987423"/>
          <a:ext cx="886823" cy="5460980"/>
        </p:xfrm>
        <a:graphic>
          <a:graphicData uri="http://schemas.openxmlformats.org/drawingml/2006/table">
            <a:tbl>
              <a:tblPr/>
              <a:tblGrid>
                <a:gridCol w="886823">
                  <a:extLst>
                    <a:ext uri="{9D8B030D-6E8A-4147-A177-3AD203B41FA5}">
                      <a16:colId xmlns:a16="http://schemas.microsoft.com/office/drawing/2014/main" val="111910632"/>
                    </a:ext>
                  </a:extLst>
                </a:gridCol>
              </a:tblGrid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95311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43180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40817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34243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511785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5086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92137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55385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580923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0456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09816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82135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900115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878125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29321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24765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28311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38772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44977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42054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76111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02100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735957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43657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7098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37582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67764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17510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8. 1. 2022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3902668"/>
              </p:ext>
            </p:extLst>
          </p:nvPr>
        </p:nvGraphicFramePr>
        <p:xfrm>
          <a:off x="1093233" y="762000"/>
          <a:ext cx="8958646" cy="5686417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591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3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7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5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6 7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A7572F1-A3A9-4778-AC0A-1851ED588C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8161858"/>
              </p:ext>
            </p:extLst>
          </p:nvPr>
        </p:nvGraphicFramePr>
        <p:xfrm>
          <a:off x="8677275" y="1159939"/>
          <a:ext cx="933450" cy="5288490"/>
        </p:xfrm>
        <a:graphic>
          <a:graphicData uri="http://schemas.openxmlformats.org/drawingml/2006/table">
            <a:tbl>
              <a:tblPr/>
              <a:tblGrid>
                <a:gridCol w="933450">
                  <a:extLst>
                    <a:ext uri="{9D8B030D-6E8A-4147-A177-3AD203B41FA5}">
                      <a16:colId xmlns:a16="http://schemas.microsoft.com/office/drawing/2014/main" val="708023879"/>
                    </a:ext>
                  </a:extLst>
                </a:gridCol>
              </a:tblGrid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019937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596300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985743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41217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509049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814401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564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71538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021637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15510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508955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76758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07953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68211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4421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72762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968296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73624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4381404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833695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68431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133861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1654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400725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983020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59584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98837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8. 1. 2022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7728800"/>
              </p:ext>
            </p:extLst>
          </p:nvPr>
        </p:nvGraphicFramePr>
        <p:xfrm>
          <a:off x="1104900" y="718064"/>
          <a:ext cx="8958646" cy="5730352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411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798 (4 99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51 (62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570 (3 39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96 (53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 843 (28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56 (2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7 (3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79 (98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 (2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43 (13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06 (4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0 (5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3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1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5128484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8950874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1111985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EB03AE-4054-44F7-9254-79404469E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2287888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4475726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1564370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379360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328475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6359018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56943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1788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4487824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2467292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B949A03-1B51-41B1-9714-ED3C62B9D0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6677297"/>
              </p:ext>
            </p:extLst>
          </p:nvPr>
        </p:nvGraphicFramePr>
        <p:xfrm>
          <a:off x="7358908" y="5543085"/>
          <a:ext cx="4558560" cy="853440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091664395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37161296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52683049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4011332510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67478008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674431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702100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4287492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6244846"/>
              </p:ext>
            </p:extLst>
          </p:nvPr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744167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2 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8. 1. 2022</a:t>
            </a:r>
          </a:p>
        </p:txBody>
      </p:sp>
    </p:spTree>
    <p:extLst>
      <p:ext uri="{BB962C8B-B14F-4D97-AF65-F5344CB8AC3E}">
        <p14:creationId xmlns:p14="http://schemas.microsoft.com/office/powerpoint/2010/main" val="1237619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4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8158644"/>
              </p:ext>
            </p:extLst>
          </p:nvPr>
        </p:nvGraphicFramePr>
        <p:xfrm>
          <a:off x="1372685" y="1009672"/>
          <a:ext cx="9684753" cy="550315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4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3572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526</TotalTime>
  <Words>14885</Words>
  <Application>Microsoft Office PowerPoint</Application>
  <PresentationFormat>Širokoúhlá obrazovka</PresentationFormat>
  <Paragraphs>6439</Paragraphs>
  <Slides>58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8</vt:i4>
      </vt:variant>
    </vt:vector>
  </HeadingPairs>
  <TitlesOfParts>
    <vt:vector size="62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ušek Ladislav prof. RNDr. Ph.D.</cp:lastModifiedBy>
  <cp:revision>592</cp:revision>
  <dcterms:created xsi:type="dcterms:W3CDTF">2020-11-14T10:09:00Z</dcterms:created>
  <dcterms:modified xsi:type="dcterms:W3CDTF">2022-01-09T17:59:58Z</dcterms:modified>
</cp:coreProperties>
</file>